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3" r:id="rId5"/>
    <p:sldMasterId id="2147483801" r:id="rId6"/>
    <p:sldMasterId id="2147483907" r:id="rId7"/>
    <p:sldMasterId id="2147483917" r:id="rId8"/>
    <p:sldMasterId id="2147483922" r:id="rId9"/>
    <p:sldMasterId id="2147483929" r:id="rId10"/>
  </p:sldMasterIdLst>
  <p:notesMasterIdLst>
    <p:notesMasterId r:id="rId18"/>
  </p:notesMasterIdLst>
  <p:handoutMasterIdLst>
    <p:handoutMasterId r:id="rId19"/>
  </p:handoutMasterIdLst>
  <p:sldIdLst>
    <p:sldId id="6122" r:id="rId11"/>
    <p:sldId id="6203" r:id="rId12"/>
    <p:sldId id="6210" r:id="rId13"/>
    <p:sldId id="6204" r:id="rId14"/>
    <p:sldId id="6200" r:id="rId15"/>
    <p:sldId id="6209" r:id="rId16"/>
    <p:sldId id="6207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Круговые схемы" id="{36186DC2-15E6-437D-ACE2-AC8044CD9D86}">
          <p14:sldIdLst>
            <p14:sldId id="6122"/>
            <p14:sldId id="6203"/>
            <p14:sldId id="6210"/>
            <p14:sldId id="6204"/>
            <p14:sldId id="6200"/>
            <p14:sldId id="6209"/>
            <p14:sldId id="6207"/>
          </p14:sldIdLst>
        </p14:section>
      </p14:sectionLst>
    </p:ext>
    <p:ext uri="{EFAFB233-063F-42B5-8137-9DF3F51BA10A}">
      <p15:sldGuideLst xmlns:p15="http://schemas.microsoft.com/office/powerpoint/2012/main">
        <p15:guide id="3" orient="horz" pos="164" userDrawn="1">
          <p15:clr>
            <a:srgbClr val="A4A3A4"/>
          </p15:clr>
        </p15:guide>
        <p15:guide id="4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ей Жандров" initials="АЖ" lastIdx="2" clrIdx="0"/>
  <p:cmAuthor id="2" name="office" initials="Rrr" lastIdx="2" clrIdx="1"/>
  <p:cmAuthor id="3" name="Максим Миненко" initials="ММ" lastIdx="2" clrIdx="2">
    <p:extLst>
      <p:ext uri="{19B8F6BF-5375-455C-9EA6-DF929625EA0E}">
        <p15:presenceInfo xmlns:p15="http://schemas.microsoft.com/office/powerpoint/2012/main" userId="Максим Миненко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F6C"/>
    <a:srgbClr val="E5F0FF"/>
    <a:srgbClr val="D6D7D8"/>
    <a:srgbClr val="00766E"/>
    <a:srgbClr val="A3A3A3"/>
    <a:srgbClr val="808080"/>
    <a:srgbClr val="525859"/>
    <a:srgbClr val="B7B4B2"/>
    <a:srgbClr val="CACACA"/>
    <a:srgbClr val="8A8F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5" autoAdjust="0"/>
    <p:restoredTop sz="77326" autoAdjust="0"/>
  </p:normalViewPr>
  <p:slideViewPr>
    <p:cSldViewPr showGuides="1">
      <p:cViewPr varScale="1">
        <p:scale>
          <a:sx n="63" d="100"/>
          <a:sy n="63" d="100"/>
        </p:scale>
        <p:origin x="1206" y="66"/>
      </p:cViewPr>
      <p:guideLst>
        <p:guide orient="horz" pos="164"/>
        <p:guide pos="3840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2640" y="24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3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1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5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6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4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F3480E7-DCB1-9445-AFD2-7B13C251492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26F0D84-728E-5B4D-8D19-DAB73781995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CE206C-933E-C54B-94CB-CF525CECCA65}" type="datetimeFigureOut">
              <a:t>30.11.2022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420414-30B9-7743-ABA3-E5D05A9E4D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E7B456-8CEB-0F4F-AE92-4F697F9922D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18C08B-0376-9840-84A6-B0D56A150416}" type="slidenum"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954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849F9D-86CE-4BF5-BEFC-0063BC819220}" type="datetimeFigureOut">
              <a:rPr lang="ru-RU" smtClean="0"/>
              <a:t>30.11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E5FA15-4E1C-487D-9F1E-D5A3ED2250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8986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обрый день, уважаемые коллеги.</a:t>
            </a:r>
            <a:r>
              <a:rPr lang="ru-RU" baseline="0" dirty="0" smtClean="0"/>
              <a:t> Меня зовут Виноградова Алена, представляю компанию Северсталь. </a:t>
            </a:r>
          </a:p>
          <a:p>
            <a:r>
              <a:rPr lang="ru-RU" baseline="0" dirty="0" smtClean="0"/>
              <a:t>Сегодня хочу осветить тему по исследованиям мостовых сталей 10/15хснд в состоянии поставки без </a:t>
            </a:r>
            <a:r>
              <a:rPr lang="ru-RU" baseline="0" smtClean="0"/>
              <a:t>термобработк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E5FA15-4E1C-487D-9F1E-D5A3ED22506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59102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ачну с</a:t>
            </a:r>
            <a:r>
              <a:rPr lang="ru-RU" baseline="0" dirty="0" smtClean="0"/>
              <a:t> того, что после введения в действие ГОСТ 6713-2021 в мостовом сообществе появилось недоверие к новым состояниям поставки металлопроката без термообработки.</a:t>
            </a:r>
          </a:p>
          <a:p>
            <a:r>
              <a:rPr lang="ru-RU" dirty="0" smtClean="0"/>
              <a:t>Предпосылки того, почему  же так важно было</a:t>
            </a:r>
            <a:r>
              <a:rPr lang="ru-RU" baseline="0" dirty="0" smtClean="0"/>
              <a:t> включить в ГОСТ 6713-2021 состояний поставки без термообработки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Рост потребности в мостовых сталях ввиду государственного фокуса на реализации инфраструктурных проектов;</a:t>
            </a:r>
            <a:endParaRPr lang="ru-RU" sz="1200" dirty="0" smtClean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71450" lvl="0" indent="-1714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Необходимость ускоренного замещения мостовых сталей в связи с отсутствием возможности поставок с заводов Украины; </a:t>
            </a:r>
            <a:endParaRPr lang="ru-RU" sz="1200" dirty="0" smtClean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71450" lvl="0" indent="-1714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Ограниченность мощностей по термообработке стали в РФ, приводящая к неполному удовлетворению потребностей в мостовых сталях российскими металлургами;</a:t>
            </a:r>
            <a:endParaRPr lang="ru-RU" sz="1200" dirty="0" smtClean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71450" lvl="0" indent="-1714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Избыточные требования к способу производства проката в существующем стандарте, приводящие к существенным дополнительным затратам во всей производственной цепочке.</a:t>
            </a: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18928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Итак, давайте</a:t>
            </a:r>
            <a:r>
              <a:rPr lang="ru-RU" baseline="0" dirty="0" smtClean="0"/>
              <a:t> рассмотрим какие этапы проходило внедрение </a:t>
            </a:r>
            <a:r>
              <a:rPr lang="ru-RU" baseline="0" dirty="0" smtClean="0"/>
              <a:t>состояний поставки без термообработки в </a:t>
            </a:r>
            <a:r>
              <a:rPr lang="ru-RU" baseline="0" dirty="0" smtClean="0"/>
              <a:t>практику мостостроения.</a:t>
            </a:r>
          </a:p>
          <a:p>
            <a:pPr marL="228600" indent="-228600">
              <a:buAutoNum type="arabicPeriod"/>
            </a:pPr>
            <a:r>
              <a:rPr lang="ru-RU" baseline="0" dirty="0" smtClean="0"/>
              <a:t>В </a:t>
            </a:r>
            <a:r>
              <a:rPr lang="ru-RU" baseline="0" dirty="0" smtClean="0"/>
              <a:t>2018 году был инициирован пересмотр ГОСТ 6713. В рамках пересмотра данного стандарта от ММК, НЛМК и Северстали было внесено предложение по внесению состояния поставки </a:t>
            </a:r>
            <a:r>
              <a:rPr lang="ru-RU" baseline="0" dirty="0" smtClean="0"/>
              <a:t>без термообработки по </a:t>
            </a:r>
            <a:r>
              <a:rPr lang="ru-RU" baseline="0" dirty="0" smtClean="0"/>
              <a:t>причине того, что  </a:t>
            </a:r>
            <a:r>
              <a:rPr lang="ru-RU" baseline="0" dirty="0" smtClean="0"/>
              <a:t>в зарубежной практике в области мостостроения стандартизированы и используются, кроме нормализации и закалки с отпуском, состояния поставки проката после прокатки, после контролируемой прокатки, после контролируемой термомеханической обработки (ТМСР) с ускоренным охлаждением или без него</a:t>
            </a:r>
          </a:p>
          <a:p>
            <a:pPr marL="0" indent="0">
              <a:buNone/>
            </a:pPr>
            <a:r>
              <a:rPr lang="ru-RU" b="0" baseline="0" dirty="0" smtClean="0">
                <a:solidFill>
                  <a:srgbClr val="FF0000"/>
                </a:solidFill>
              </a:rPr>
              <a:t>15 марта 2022 года ГОСТ </a:t>
            </a:r>
            <a:r>
              <a:rPr lang="ru-RU" b="0" baseline="0" dirty="0" smtClean="0">
                <a:solidFill>
                  <a:srgbClr val="FF0000"/>
                </a:solidFill>
              </a:rPr>
              <a:t>6713-2021 года  Приказом  был введен в </a:t>
            </a:r>
            <a:r>
              <a:rPr lang="ru-RU" b="0" baseline="0" dirty="0" smtClean="0">
                <a:solidFill>
                  <a:srgbClr val="FF0000"/>
                </a:solidFill>
              </a:rPr>
              <a:t>действие</a:t>
            </a:r>
            <a:endParaRPr lang="ru-RU" b="0" baseline="0" dirty="0" smtClean="0">
              <a:solidFill>
                <a:srgbClr val="FF0000"/>
              </a:solidFill>
            </a:endParaRPr>
          </a:p>
          <a:p>
            <a:endParaRPr lang="ru-RU" b="0" baseline="0" dirty="0" smtClean="0">
              <a:solidFill>
                <a:srgbClr val="FF0000"/>
              </a:solidFill>
            </a:endParaRPr>
          </a:p>
          <a:p>
            <a:r>
              <a:rPr lang="ru-RU" b="0" baseline="0" dirty="0" smtClean="0">
                <a:solidFill>
                  <a:srgbClr val="FF0000"/>
                </a:solidFill>
              </a:rPr>
              <a:t>2</a:t>
            </a:r>
            <a:r>
              <a:rPr lang="ru-RU" b="0" baseline="0" dirty="0" smtClean="0">
                <a:solidFill>
                  <a:srgbClr val="FF0000"/>
                </a:solidFill>
              </a:rPr>
              <a:t>. После введения в действие ГОСТ 6713-2021 мостовое сообщество озадачилось вопросом применения проката в состоянии поставки без термообработки, т.к. ранее данного состояния в мостовых нормативах не было</a:t>
            </a:r>
            <a:r>
              <a:rPr lang="ru-RU" b="0" baseline="0" dirty="0" smtClean="0">
                <a:solidFill>
                  <a:srgbClr val="FF0000"/>
                </a:solidFill>
              </a:rPr>
              <a:t>..</a:t>
            </a:r>
            <a:endParaRPr lang="ru-RU" b="0" baseline="0" dirty="0" smtClean="0">
              <a:solidFill>
                <a:srgbClr val="FF0000"/>
              </a:solidFill>
            </a:endParaRPr>
          </a:p>
          <a:p>
            <a:r>
              <a:rPr lang="ru-RU" b="0" baseline="0" dirty="0" smtClean="0">
                <a:solidFill>
                  <a:srgbClr val="FF0000"/>
                </a:solidFill>
              </a:rPr>
              <a:t>В связи с этим с апреля 2022 года под председательством Минстрой России (С.Г. Музыченко) был проведен ряд встреч с участием заинтересованных участников, на которых было принято решение провести комплексное исследование мостовых сталей в состоянии без термообработки</a:t>
            </a:r>
          </a:p>
          <a:p>
            <a:r>
              <a:rPr lang="ru-RU" b="0" baseline="0" dirty="0" smtClean="0">
                <a:solidFill>
                  <a:srgbClr val="FF0000"/>
                </a:solidFill>
              </a:rPr>
              <a:t>Силами АО «ЦНИИТС» была разработана Программа комплексных исследований мостового проката 10/15хснд с целью определения возможности применения его в мостостроении.</a:t>
            </a:r>
          </a:p>
          <a:p>
            <a:r>
              <a:rPr lang="ru-RU" b="0" baseline="0" dirty="0" smtClean="0">
                <a:solidFill>
                  <a:srgbClr val="FF0000"/>
                </a:solidFill>
              </a:rPr>
              <a:t>Параллельно было принято решение о временном возобновлении действия ГОСТ Р 55374 до 1 мая 2023 года, также актуализации  стандартов содержащих ссылки на ГОСТ Р 55374</a:t>
            </a:r>
          </a:p>
          <a:p>
            <a:endParaRPr lang="ru-RU" b="0" baseline="0" dirty="0" smtClean="0">
              <a:solidFill>
                <a:srgbClr val="FF0000"/>
              </a:solidFill>
            </a:endParaRPr>
          </a:p>
          <a:p>
            <a:endParaRPr lang="ru-RU" b="0" baseline="0" dirty="0" smtClean="0">
              <a:solidFill>
                <a:srgbClr val="FF0000"/>
              </a:solidFill>
            </a:endParaRPr>
          </a:p>
          <a:p>
            <a:r>
              <a:rPr lang="ru-RU" b="0" baseline="0" dirty="0" smtClean="0">
                <a:solidFill>
                  <a:srgbClr val="FF0000"/>
                </a:solidFill>
              </a:rPr>
              <a:t>3. Про 3-ий этап расскажу поподробнее</a:t>
            </a:r>
            <a:endParaRPr lang="ru-RU" b="0" baseline="0" dirty="0" smtClean="0">
              <a:solidFill>
                <a:srgbClr val="FF0000"/>
              </a:solidFill>
            </a:endParaRPr>
          </a:p>
          <a:p>
            <a:endParaRPr lang="ru-RU" b="0" dirty="0"/>
          </a:p>
        </p:txBody>
      </p:sp>
    </p:spTree>
    <p:extLst>
      <p:ext uri="{BB962C8B-B14F-4D97-AF65-F5344CB8AC3E}">
        <p14:creationId xmlns:p14="http://schemas.microsoft.com/office/powerpoint/2010/main" val="33279772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0" baseline="0" dirty="0" smtClean="0">
                <a:solidFill>
                  <a:srgbClr val="FF0000"/>
                </a:solidFill>
              </a:rPr>
              <a:t>3. В рамках проведенных Минстроем встреч были определены организации, способные выполнить весь комплекс испытаний (ЦНИИТС, МАДИ, МГСУ).</a:t>
            </a:r>
          </a:p>
          <a:p>
            <a:r>
              <a:rPr lang="ru-RU" b="0" baseline="0" dirty="0" smtClean="0">
                <a:solidFill>
                  <a:srgbClr val="FF0000"/>
                </a:solidFill>
              </a:rPr>
              <a:t>По согласованию с Минстрой и Минтранс компания Северсталь выбрала в качестве исполнителя МАДИ («Малое инновационное предприятие «Научно-Инженерный Центр Мостов и Сооружений» (ООО «МИП «НИЦ </a:t>
            </a:r>
            <a:r>
              <a:rPr lang="ru-RU" b="0" baseline="0" dirty="0" err="1" smtClean="0">
                <a:solidFill>
                  <a:srgbClr val="FF0000"/>
                </a:solidFill>
              </a:rPr>
              <a:t>МиС</a:t>
            </a:r>
            <a:r>
              <a:rPr lang="ru-RU" b="0" baseline="0" dirty="0" smtClean="0">
                <a:solidFill>
                  <a:srgbClr val="FF0000"/>
                </a:solidFill>
              </a:rPr>
              <a:t>»)</a:t>
            </a:r>
          </a:p>
          <a:p>
            <a:r>
              <a:rPr lang="ru-RU" b="0" baseline="0" dirty="0" smtClean="0">
                <a:solidFill>
                  <a:srgbClr val="FF0000"/>
                </a:solidFill>
              </a:rPr>
              <a:t>Далее, ссылаясь на Программу исследований мы на предприятии прокатали необходимый материал и подготовили  образцы, которые впоследствии направили в МАДИ для дальнейших испытаний</a:t>
            </a:r>
          </a:p>
          <a:p>
            <a:endParaRPr lang="ru-RU" dirty="0" smtClean="0"/>
          </a:p>
          <a:p>
            <a:r>
              <a:rPr lang="ru-RU" dirty="0" smtClean="0"/>
              <a:t>В</a:t>
            </a:r>
            <a:r>
              <a:rPr lang="ru-RU" baseline="0" dirty="0" smtClean="0"/>
              <a:t> настоящее время выполнены следующие этапы Программы представленные на слайде:</a:t>
            </a:r>
          </a:p>
          <a:p>
            <a:r>
              <a:rPr lang="ru-RU" baseline="0" dirty="0" smtClean="0"/>
              <a:t>Исследования не выявили неоднородности свойств проката по ширине и толщине листа, а также снижения механических свойств относительно установленных норм. Испытания опытных партий металлопроката подтвердили:</a:t>
            </a:r>
          </a:p>
          <a:p>
            <a:r>
              <a:rPr lang="ru-RU" baseline="0" dirty="0" smtClean="0"/>
              <a:t>- соответствие механических свойства проката установленным нормам;</a:t>
            </a:r>
          </a:p>
          <a:p>
            <a:r>
              <a:rPr lang="ru-RU" baseline="0" dirty="0" smtClean="0"/>
              <a:t>- соответствие технологических свойства проката установленным нормам;</a:t>
            </a:r>
          </a:p>
          <a:p>
            <a:r>
              <a:rPr lang="ru-RU" baseline="0" dirty="0" smtClean="0"/>
              <a:t>- соответствие оценки однородности проката в продольном направлении и в направлении толщины проката</a:t>
            </a:r>
          </a:p>
          <a:p>
            <a:endParaRPr lang="ru-RU" baseline="0" dirty="0" smtClean="0"/>
          </a:p>
          <a:p>
            <a:r>
              <a:rPr lang="ru-RU" baseline="0" dirty="0" smtClean="0"/>
              <a:t>По договору до 1 апреля будут завершены все этапы Программы, включающие масштабные испытания образцов на выносливость. Результатом этой большой работы станет Отчет о возможности применения проката в состоянии поставки без термообработки в конструкциях мостов.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23112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У</a:t>
            </a:r>
            <a:r>
              <a:rPr lang="ru-RU" baseline="0" dirty="0" smtClean="0"/>
              <a:t> меня на этом все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Если у вас появились вопросы, то можете их задать или подойти после моего выступления лично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Спасибо за внимание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A3D45-2AA2-4168-8BB7-A83160CCDDD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80676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0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шаблона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E86DA874-5929-4AA1-A99E-2E61BE7F20EA}"/>
              </a:ext>
            </a:extLst>
          </p:cNvPr>
          <p:cNvSpPr/>
          <p:nvPr userDrawn="1"/>
        </p:nvSpPr>
        <p:spPr>
          <a:xfrm>
            <a:off x="0" y="2606474"/>
            <a:ext cx="1600250" cy="4251526"/>
          </a:xfrm>
          <a:custGeom>
            <a:avLst/>
            <a:gdLst>
              <a:gd name="connsiteX0" fmla="*/ 0 w 1600250"/>
              <a:gd name="connsiteY0" fmla="*/ 0 h 4251526"/>
              <a:gd name="connsiteX1" fmla="*/ 1600250 w 1600250"/>
              <a:gd name="connsiteY1" fmla="*/ 0 h 4251526"/>
              <a:gd name="connsiteX2" fmla="*/ 1600250 w 1600250"/>
              <a:gd name="connsiteY2" fmla="*/ 3227840 h 4251526"/>
              <a:gd name="connsiteX3" fmla="*/ 576564 w 1600250"/>
              <a:gd name="connsiteY3" fmla="*/ 4251526 h 4251526"/>
              <a:gd name="connsiteX4" fmla="*/ 0 w 1600250"/>
              <a:gd name="connsiteY4" fmla="*/ 4251526 h 4251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250" h="4251526">
                <a:moveTo>
                  <a:pt x="0" y="0"/>
                </a:moveTo>
                <a:lnTo>
                  <a:pt x="1600250" y="0"/>
                </a:lnTo>
                <a:lnTo>
                  <a:pt x="1600250" y="3227840"/>
                </a:lnTo>
                <a:lnTo>
                  <a:pt x="576564" y="4251526"/>
                </a:lnTo>
                <a:lnTo>
                  <a:pt x="0" y="4251526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DF71C1D4-9A88-44B1-9471-91C20B1BB2FF}"/>
              </a:ext>
            </a:extLst>
          </p:cNvPr>
          <p:cNvSpPr/>
          <p:nvPr userDrawn="1"/>
        </p:nvSpPr>
        <p:spPr>
          <a:xfrm>
            <a:off x="1600250" y="4220394"/>
            <a:ext cx="4841760" cy="2637607"/>
          </a:xfrm>
          <a:custGeom>
            <a:avLst/>
            <a:gdLst>
              <a:gd name="connsiteX0" fmla="*/ 1613920 w 4841760"/>
              <a:gd name="connsiteY0" fmla="*/ 0 h 2637607"/>
              <a:gd name="connsiteX1" fmla="*/ 4841760 w 4841760"/>
              <a:gd name="connsiteY1" fmla="*/ 0 h 2637607"/>
              <a:gd name="connsiteX2" fmla="*/ 4841760 w 4841760"/>
              <a:gd name="connsiteY2" fmla="*/ 2637607 h 2637607"/>
              <a:gd name="connsiteX3" fmla="*/ 3227840 w 4841760"/>
              <a:gd name="connsiteY3" fmla="*/ 2637607 h 2637607"/>
              <a:gd name="connsiteX4" fmla="*/ 3227840 w 4841760"/>
              <a:gd name="connsiteY4" fmla="*/ 1613920 h 2637607"/>
              <a:gd name="connsiteX5" fmla="*/ 0 w 4841760"/>
              <a:gd name="connsiteY5" fmla="*/ 1613920 h 26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41760" h="2637607">
                <a:moveTo>
                  <a:pt x="1613920" y="0"/>
                </a:moveTo>
                <a:lnTo>
                  <a:pt x="4841760" y="0"/>
                </a:lnTo>
                <a:lnTo>
                  <a:pt x="4841760" y="2637607"/>
                </a:lnTo>
                <a:lnTo>
                  <a:pt x="3227840" y="2637607"/>
                </a:lnTo>
                <a:lnTo>
                  <a:pt x="3227840" y="1613920"/>
                </a:lnTo>
                <a:lnTo>
                  <a:pt x="0" y="161392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980C4912-F120-4F90-A1EE-6BDAFE99CDF3}"/>
              </a:ext>
            </a:extLst>
          </p:cNvPr>
          <p:cNvSpPr/>
          <p:nvPr userDrawn="1"/>
        </p:nvSpPr>
        <p:spPr>
          <a:xfrm>
            <a:off x="4828089" y="992553"/>
            <a:ext cx="4841760" cy="4841759"/>
          </a:xfrm>
          <a:custGeom>
            <a:avLst/>
            <a:gdLst>
              <a:gd name="connsiteX0" fmla="*/ 4796790 w 4796790"/>
              <a:gd name="connsiteY0" fmla="*/ 0 h 4796789"/>
              <a:gd name="connsiteX1" fmla="*/ 1598930 w 4796790"/>
              <a:gd name="connsiteY1" fmla="*/ 0 h 4796789"/>
              <a:gd name="connsiteX2" fmla="*/ 0 w 4796790"/>
              <a:gd name="connsiteY2" fmla="*/ 1598930 h 4796789"/>
              <a:gd name="connsiteX3" fmla="*/ 3197860 w 4796790"/>
              <a:gd name="connsiteY3" fmla="*/ 1598930 h 4796789"/>
              <a:gd name="connsiteX4" fmla="*/ 3197860 w 4796790"/>
              <a:gd name="connsiteY4" fmla="*/ 4796790 h 4796789"/>
              <a:gd name="connsiteX5" fmla="*/ 4796790 w 4796790"/>
              <a:gd name="connsiteY5" fmla="*/ 3197860 h 479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90" h="4796789">
                <a:moveTo>
                  <a:pt x="4796790" y="0"/>
                </a:moveTo>
                <a:lnTo>
                  <a:pt x="1598930" y="0"/>
                </a:lnTo>
                <a:lnTo>
                  <a:pt x="0" y="1598930"/>
                </a:lnTo>
                <a:lnTo>
                  <a:pt x="3197860" y="1598930"/>
                </a:lnTo>
                <a:lnTo>
                  <a:pt x="3197860" y="4796790"/>
                </a:lnTo>
                <a:lnTo>
                  <a:pt x="4796790" y="319786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3FDF4C0F-85C4-474D-A1D2-555058C06A77}"/>
              </a:ext>
            </a:extLst>
          </p:cNvPr>
          <p:cNvSpPr/>
          <p:nvPr userDrawn="1"/>
        </p:nvSpPr>
        <p:spPr>
          <a:xfrm>
            <a:off x="-13671" y="29842"/>
            <a:ext cx="4841759" cy="4190551"/>
          </a:xfrm>
          <a:custGeom>
            <a:avLst/>
            <a:gdLst>
              <a:gd name="connsiteX0" fmla="*/ 953135 w 4796789"/>
              <a:gd name="connsiteY0" fmla="*/ 0 h 4151629"/>
              <a:gd name="connsiteX1" fmla="*/ 0 w 4796789"/>
              <a:gd name="connsiteY1" fmla="*/ 953770 h 4151629"/>
              <a:gd name="connsiteX2" fmla="*/ 3197860 w 4796789"/>
              <a:gd name="connsiteY2" fmla="*/ 953770 h 4151629"/>
              <a:gd name="connsiteX3" fmla="*/ 3197860 w 4796789"/>
              <a:gd name="connsiteY3" fmla="*/ 4151630 h 4151629"/>
              <a:gd name="connsiteX4" fmla="*/ 4796790 w 4796789"/>
              <a:gd name="connsiteY4" fmla="*/ 2552700 h 4151629"/>
              <a:gd name="connsiteX5" fmla="*/ 4796790 w 4796789"/>
              <a:gd name="connsiteY5" fmla="*/ 0 h 415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89" h="4151629">
                <a:moveTo>
                  <a:pt x="953135" y="0"/>
                </a:moveTo>
                <a:lnTo>
                  <a:pt x="0" y="953770"/>
                </a:lnTo>
                <a:lnTo>
                  <a:pt x="3197860" y="953770"/>
                </a:lnTo>
                <a:lnTo>
                  <a:pt x="3197860" y="4151630"/>
                </a:lnTo>
                <a:lnTo>
                  <a:pt x="4796790" y="2552700"/>
                </a:lnTo>
                <a:lnTo>
                  <a:pt x="479679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6503AECF-4CA5-43F0-9AF3-EA4A72E46E38}"/>
              </a:ext>
            </a:extLst>
          </p:cNvPr>
          <p:cNvSpPr/>
          <p:nvPr userDrawn="1"/>
        </p:nvSpPr>
        <p:spPr>
          <a:xfrm>
            <a:off x="9669849" y="2606474"/>
            <a:ext cx="2522151" cy="1613919"/>
          </a:xfrm>
          <a:custGeom>
            <a:avLst/>
            <a:gdLst>
              <a:gd name="connsiteX0" fmla="*/ 1598930 w 2498725"/>
              <a:gd name="connsiteY0" fmla="*/ 0 h 1598929"/>
              <a:gd name="connsiteX1" fmla="*/ 0 w 2498725"/>
              <a:gd name="connsiteY1" fmla="*/ 1598930 h 1598929"/>
              <a:gd name="connsiteX2" fmla="*/ 2498725 w 2498725"/>
              <a:gd name="connsiteY2" fmla="*/ 1598930 h 1598929"/>
              <a:gd name="connsiteX3" fmla="*/ 2498725 w 2498725"/>
              <a:gd name="connsiteY3" fmla="*/ 0 h 1598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8725" h="1598929">
                <a:moveTo>
                  <a:pt x="1598930" y="0"/>
                </a:moveTo>
                <a:lnTo>
                  <a:pt x="0" y="1598930"/>
                </a:lnTo>
                <a:lnTo>
                  <a:pt x="2498725" y="1598930"/>
                </a:lnTo>
                <a:lnTo>
                  <a:pt x="24987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8A42EDAC-972D-4561-8D17-435F67F7B38C}"/>
              </a:ext>
            </a:extLst>
          </p:cNvPr>
          <p:cNvSpPr/>
          <p:nvPr userDrawn="1"/>
        </p:nvSpPr>
        <p:spPr>
          <a:xfrm>
            <a:off x="11283769" y="29842"/>
            <a:ext cx="908230" cy="2576632"/>
          </a:xfrm>
          <a:custGeom>
            <a:avLst/>
            <a:gdLst>
              <a:gd name="connsiteX0" fmla="*/ 0 w 899794"/>
              <a:gd name="connsiteY0" fmla="*/ 0 h 2552700"/>
              <a:gd name="connsiteX1" fmla="*/ 0 w 899794"/>
              <a:gd name="connsiteY1" fmla="*/ 2552700 h 2552700"/>
              <a:gd name="connsiteX2" fmla="*/ 899795 w 899794"/>
              <a:gd name="connsiteY2" fmla="*/ 1652905 h 2552700"/>
              <a:gd name="connsiteX3" fmla="*/ 899795 w 899794"/>
              <a:gd name="connsiteY3" fmla="*/ 0 h 255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9794" h="2552700">
                <a:moveTo>
                  <a:pt x="0" y="0"/>
                </a:moveTo>
                <a:lnTo>
                  <a:pt x="0" y="2552700"/>
                </a:lnTo>
                <a:lnTo>
                  <a:pt x="899795" y="1652905"/>
                </a:lnTo>
                <a:lnTo>
                  <a:pt x="8997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7DA07329-2815-4181-9C0F-470DAA2099A3}"/>
              </a:ext>
            </a:extLst>
          </p:cNvPr>
          <p:cNvSpPr/>
          <p:nvPr userDrawn="1"/>
        </p:nvSpPr>
        <p:spPr>
          <a:xfrm>
            <a:off x="6442009" y="0"/>
            <a:ext cx="1007295" cy="1007295"/>
          </a:xfrm>
          <a:custGeom>
            <a:avLst/>
            <a:gdLst>
              <a:gd name="connsiteX0" fmla="*/ 0 w 1007295"/>
              <a:gd name="connsiteY0" fmla="*/ 0 h 1007295"/>
              <a:gd name="connsiteX1" fmla="*/ 1007295 w 1007295"/>
              <a:gd name="connsiteY1" fmla="*/ 0 h 1007295"/>
              <a:gd name="connsiteX2" fmla="*/ 0 w 1007295"/>
              <a:gd name="connsiteY2" fmla="*/ 1007295 h 1007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7295" h="1007295">
                <a:moveTo>
                  <a:pt x="0" y="0"/>
                </a:moveTo>
                <a:lnTo>
                  <a:pt x="1007295" y="0"/>
                </a:lnTo>
                <a:lnTo>
                  <a:pt x="0" y="1007295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2" name="Полилиния: фигура 21">
            <a:extLst>
              <a:ext uri="{FF2B5EF4-FFF2-40B4-BE49-F238E27FC236}">
                <a16:creationId xmlns:a16="http://schemas.microsoft.com/office/drawing/2014/main" id="{15551796-9430-44BB-9A13-B715C717E44B}"/>
              </a:ext>
            </a:extLst>
          </p:cNvPr>
          <p:cNvSpPr/>
          <p:nvPr userDrawn="1"/>
        </p:nvSpPr>
        <p:spPr>
          <a:xfrm>
            <a:off x="7032242" y="5834312"/>
            <a:ext cx="4251528" cy="1023688"/>
          </a:xfrm>
          <a:custGeom>
            <a:avLst/>
            <a:gdLst>
              <a:gd name="connsiteX0" fmla="*/ 1023688 w 4251528"/>
              <a:gd name="connsiteY0" fmla="*/ 0 h 1023688"/>
              <a:gd name="connsiteX1" fmla="*/ 4251528 w 4251528"/>
              <a:gd name="connsiteY1" fmla="*/ 0 h 1023688"/>
              <a:gd name="connsiteX2" fmla="*/ 4251528 w 4251528"/>
              <a:gd name="connsiteY2" fmla="*/ 1023688 h 1023688"/>
              <a:gd name="connsiteX3" fmla="*/ 0 w 4251528"/>
              <a:gd name="connsiteY3" fmla="*/ 1023688 h 1023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1528" h="1023688">
                <a:moveTo>
                  <a:pt x="1023688" y="0"/>
                </a:moveTo>
                <a:lnTo>
                  <a:pt x="4251528" y="0"/>
                </a:lnTo>
                <a:lnTo>
                  <a:pt x="4251528" y="1023688"/>
                </a:lnTo>
                <a:lnTo>
                  <a:pt x="0" y="1023688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19D409E-9FD1-43D8-BF51-65BF1B6787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BCCD663-0AE7-4EB7-9471-F1237F1B209B}"/>
              </a:ext>
            </a:extLst>
          </p:cNvPr>
          <p:cNvSpPr txBox="1">
            <a:spLocks/>
          </p:cNvSpPr>
          <p:nvPr userDrawn="1"/>
        </p:nvSpPr>
        <p:spPr>
          <a:xfrm>
            <a:off x="5771964" y="6561348"/>
            <a:ext cx="648072" cy="230864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9CAC58-44C9-4DC0-A6AF-0B4057C34224}" type="slidenum">
              <a:rPr lang="ru-RU" smtClean="0">
                <a:solidFill>
                  <a:schemeClr val="bg1"/>
                </a:solidFill>
              </a:rPr>
              <a:pPr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6353EBA0-AD4C-4F8F-9664-692632A1EE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28" name="Заголовок 12">
            <a:extLst>
              <a:ext uri="{FF2B5EF4-FFF2-40B4-BE49-F238E27FC236}">
                <a16:creationId xmlns:a16="http://schemas.microsoft.com/office/drawing/2014/main" id="{8D3E5806-E57D-47C6-9D92-8F1B66C22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629" y="1106128"/>
            <a:ext cx="6124585" cy="1116578"/>
          </a:xfrm>
        </p:spPr>
        <p:txBody>
          <a:bodyPr anchor="b">
            <a:noAutofit/>
          </a:bodyPr>
          <a:lstStyle>
            <a:lvl1pPr>
              <a:def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>
              <a:defRPr/>
            </a:pPr>
            <a:r>
              <a:rPr lang="ru-RU" sz="4000" b="1" dirty="0">
                <a:solidFill>
                  <a:srgbClr val="FFFFFF"/>
                </a:solidFill>
              </a:rPr>
              <a:t>Титульный слайд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Текст 19">
            <a:extLst>
              <a:ext uri="{FF2B5EF4-FFF2-40B4-BE49-F238E27FC236}">
                <a16:creationId xmlns:a16="http://schemas.microsoft.com/office/drawing/2014/main" id="{A0EF04F5-7844-4252-B6E1-7773238540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629" y="2394168"/>
            <a:ext cx="6124585" cy="233910"/>
          </a:xfrm>
        </p:spPr>
        <p:txBody>
          <a:bodyPr>
            <a:spAutoFit/>
          </a:bodyPr>
          <a:lstStyle>
            <a:lvl1pPr marL="180000" indent="-180000" algn="l" defTabSz="883649" rtl="0" eaLnBrk="0" fontAlgn="base" hangingPunct="0">
              <a:lnSpc>
                <a:spcPct val="95000"/>
              </a:lnSpc>
              <a:spcBef>
                <a:spcPts val="500"/>
              </a:spcBef>
              <a:spcAft>
                <a:spcPts val="200"/>
              </a:spcAft>
              <a:defRPr lang="ru-RU" sz="16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30" name="Прямая соединительная линия 9">
            <a:extLst>
              <a:ext uri="{FF2B5EF4-FFF2-40B4-BE49-F238E27FC236}">
                <a16:creationId xmlns:a16="http://schemas.microsoft.com/office/drawing/2014/main" id="{8F4FE799-1569-445B-A49F-10F0A429BC4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A3863158-CE6B-4333-BB35-9848BA3996BF}"/>
              </a:ext>
            </a:extLst>
          </p:cNvPr>
          <p:cNvSpPr txBox="1"/>
          <p:nvPr userDrawn="1"/>
        </p:nvSpPr>
        <p:spPr>
          <a:xfrm>
            <a:off x="407989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 dirty="0">
                <a:solidFill>
                  <a:schemeClr val="bg1"/>
                </a:solidFill>
              </a:rPr>
            </a:br>
            <a:r>
              <a:rPr lang="ru-RU" sz="500" dirty="0">
                <a:solidFill>
                  <a:schemeClr val="bg1"/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sp>
        <p:nvSpPr>
          <p:cNvPr id="33" name="Текст 3">
            <a:extLst>
              <a:ext uri="{FF2B5EF4-FFF2-40B4-BE49-F238E27FC236}">
                <a16:creationId xmlns:a16="http://schemas.microsoft.com/office/drawing/2014/main" id="{65C3E12B-7593-4486-AA98-9E0F1433DD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86482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 с плаш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7" y="1092880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465" y="1092880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7" y="3736398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68465" y="3736398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27922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фото с плаш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3752273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42017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CA10BA21-1298-451F-8349-BF32A744B7B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4110" y="1089026"/>
            <a:ext cx="5576400" cy="205362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4E877373-7C5A-42D4-AAF7-54390307D29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4716" y="1089026"/>
            <a:ext cx="5576400" cy="205362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10147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ольш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CA10BA21-1298-451F-8349-BF32A744B7B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4110" y="1089026"/>
            <a:ext cx="5576400" cy="291600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4E877373-7C5A-42D4-AAF7-54390307D29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4716" y="1089026"/>
            <a:ext cx="5576400" cy="291600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278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7">
            <a:extLst>
              <a:ext uri="{FF2B5EF4-FFF2-40B4-BE49-F238E27FC236}">
                <a16:creationId xmlns:a16="http://schemas.microsoft.com/office/drawing/2014/main" id="{A6239A19-9FAE-47A0-A477-EB1B77BF90A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001945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99E91E2D-3933-4E87-80A8-CF518950025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2335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5AFA9D99-37C6-4CD3-B18D-2C7C47D2DB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75538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62C57C21-789C-4730-8529-0A92398E04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38741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06320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больш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2290CE11-5240-42EA-BEE4-E19D7FE72B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310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E28F290B-8157-4FA7-81FC-055AFF55DE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84633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1910196-5F21-43B3-B9EA-9A786B910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9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46210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маленьк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7247B4CC-3E48-4A84-ABFD-5C8B1B8326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85461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FB2AA0CA-2D15-4343-89C4-52DC555FE64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7989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E56FC753-0B69-49EA-A82C-5DE0D7689F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6731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3D1015E6-0C62-4573-AAC4-989A7E0CF3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498553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4">
            <a:extLst>
              <a:ext uri="{FF2B5EF4-FFF2-40B4-BE49-F238E27FC236}">
                <a16:creationId xmlns:a16="http://schemas.microsoft.com/office/drawing/2014/main" id="{A9E75C1E-59FA-1141-88ED-C9DA5B5C20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75071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A3E83BB-44FD-43C3-B5FD-B2DC1C2D4985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grpSp>
        <p:nvGrpSpPr>
          <p:cNvPr id="8" name="Рисунок 3">
            <a:extLst>
              <a:ext uri="{FF2B5EF4-FFF2-40B4-BE49-F238E27FC236}">
                <a16:creationId xmlns:a16="http://schemas.microsoft.com/office/drawing/2014/main" id="{D663A8F4-12F9-49EE-A891-BBC78F6B8D5D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9EB08345-EDEA-4E5F-8C73-ECA9ED5D8D65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C4E78553-2D46-4B56-A19D-70262B236649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94BFC336-5EDD-43A3-A172-69C55F21CC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14" name="Текст 39">
            <a:extLst>
              <a:ext uri="{FF2B5EF4-FFF2-40B4-BE49-F238E27FC236}">
                <a16:creationId xmlns:a16="http://schemas.microsoft.com/office/drawing/2014/main" id="{7036E895-99CC-4BCE-A997-EBA227FE1B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5" name="Текст 26">
            <a:extLst>
              <a:ext uri="{FF2B5EF4-FFF2-40B4-BE49-F238E27FC236}">
                <a16:creationId xmlns:a16="http://schemas.microsoft.com/office/drawing/2014/main" id="{9178C993-2B33-4D2D-A01C-29320624F1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555367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16" name="Текст 26">
            <a:extLst>
              <a:ext uri="{FF2B5EF4-FFF2-40B4-BE49-F238E27FC236}">
                <a16:creationId xmlns:a16="http://schemas.microsoft.com/office/drawing/2014/main" id="{618AF164-F755-4509-892D-5E791A82CF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5892298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3" name="Graphic 17">
            <a:extLst>
              <a:ext uri="{FF2B5EF4-FFF2-40B4-BE49-F238E27FC236}">
                <a16:creationId xmlns:a16="http://schemas.microsoft.com/office/drawing/2014/main" id="{21860EE9-1D54-4890-BA25-82EEE1F55E4A}"/>
              </a:ext>
            </a:extLst>
          </p:cNvPr>
          <p:cNvSpPr/>
          <p:nvPr/>
        </p:nvSpPr>
        <p:spPr>
          <a:xfrm>
            <a:off x="426123" y="5552208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5" name="Graphic 5">
            <a:extLst>
              <a:ext uri="{FF2B5EF4-FFF2-40B4-BE49-F238E27FC236}">
                <a16:creationId xmlns:a16="http://schemas.microsoft.com/office/drawing/2014/main" id="{940A7D6B-F4CD-4576-86E4-E1C99C335543}"/>
              </a:ext>
            </a:extLst>
          </p:cNvPr>
          <p:cNvGrpSpPr/>
          <p:nvPr/>
        </p:nvGrpSpPr>
        <p:grpSpPr>
          <a:xfrm>
            <a:off x="423152" y="5898188"/>
            <a:ext cx="192624" cy="192624"/>
            <a:chOff x="423152" y="5898188"/>
            <a:chExt cx="192624" cy="192624"/>
          </a:xfrm>
          <a:solidFill>
            <a:srgbClr val="FFFFFF"/>
          </a:solidFill>
        </p:grpSpPr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C17ABBDE-9098-4E13-93C4-6EA0D26307C6}"/>
                </a:ext>
              </a:extLst>
            </p:cNvPr>
            <p:cNvSpPr/>
            <p:nvPr/>
          </p:nvSpPr>
          <p:spPr>
            <a:xfrm>
              <a:off x="423152" y="5898188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66A9EE89-8C3A-423A-ABDC-D8800BA31A96}"/>
                </a:ext>
              </a:extLst>
            </p:cNvPr>
            <p:cNvSpPr/>
            <p:nvPr/>
          </p:nvSpPr>
          <p:spPr>
            <a:xfrm>
              <a:off x="452058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735B3712-F974-4981-9980-5F3243B30584}"/>
                </a:ext>
              </a:extLst>
            </p:cNvPr>
            <p:cNvSpPr/>
            <p:nvPr/>
          </p:nvSpPr>
          <p:spPr>
            <a:xfrm>
              <a:off x="500201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1095F3B0-1BD1-4667-87B5-A35C4D41C253}"/>
                </a:ext>
              </a:extLst>
            </p:cNvPr>
            <p:cNvSpPr/>
            <p:nvPr/>
          </p:nvSpPr>
          <p:spPr>
            <a:xfrm>
              <a:off x="548344" y="5975237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9C5A9DE7-A60C-4196-AC48-B355C45E6A0E}"/>
                </a:ext>
              </a:extLst>
            </p:cNvPr>
            <p:cNvSpPr/>
            <p:nvPr/>
          </p:nvSpPr>
          <p:spPr>
            <a:xfrm>
              <a:off x="452058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2F4691E6-C1B7-4BC9-B963-6B9B0123D370}"/>
                </a:ext>
              </a:extLst>
            </p:cNvPr>
            <p:cNvSpPr/>
            <p:nvPr/>
          </p:nvSpPr>
          <p:spPr>
            <a:xfrm>
              <a:off x="500201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4673921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паттерном и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A3E83BB-44FD-43C3-B5FD-B2DC1C2D4985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12" name="Полилиния: фигура 111">
            <a:extLst>
              <a:ext uri="{FF2B5EF4-FFF2-40B4-BE49-F238E27FC236}">
                <a16:creationId xmlns:a16="http://schemas.microsoft.com/office/drawing/2014/main" id="{1C442878-F4C2-4530-A4A9-D1022633EE6F}"/>
              </a:ext>
            </a:extLst>
          </p:cNvPr>
          <p:cNvSpPr/>
          <p:nvPr/>
        </p:nvSpPr>
        <p:spPr>
          <a:xfrm>
            <a:off x="1059120" y="0"/>
            <a:ext cx="640800" cy="4919628"/>
          </a:xfrm>
          <a:custGeom>
            <a:avLst/>
            <a:gdLst>
              <a:gd name="connsiteX0" fmla="*/ 0 w 640800"/>
              <a:gd name="connsiteY0" fmla="*/ 0 h 4919628"/>
              <a:gd name="connsiteX1" fmla="*/ 625208 w 640800"/>
              <a:gd name="connsiteY1" fmla="*/ 0 h 4919628"/>
              <a:gd name="connsiteX2" fmla="*/ 640800 w 640800"/>
              <a:gd name="connsiteY2" fmla="*/ 0 h 4919628"/>
              <a:gd name="connsiteX3" fmla="*/ 640800 w 640800"/>
              <a:gd name="connsiteY3" fmla="*/ 914400 h 4919628"/>
              <a:gd name="connsiteX4" fmla="*/ 639537 w 640800"/>
              <a:gd name="connsiteY4" fmla="*/ 914400 h 4919628"/>
              <a:gd name="connsiteX5" fmla="*/ 639537 w 640800"/>
              <a:gd name="connsiteY5" fmla="*/ 4280091 h 4919628"/>
              <a:gd name="connsiteX6" fmla="*/ 0 w 640800"/>
              <a:gd name="connsiteY6" fmla="*/ 4919628 h 4919628"/>
              <a:gd name="connsiteX7" fmla="*/ 0 w 640800"/>
              <a:gd name="connsiteY7" fmla="*/ 914400 h 491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919628">
                <a:moveTo>
                  <a:pt x="0" y="0"/>
                </a:moveTo>
                <a:lnTo>
                  <a:pt x="625208" y="0"/>
                </a:lnTo>
                <a:lnTo>
                  <a:pt x="640800" y="0"/>
                </a:lnTo>
                <a:lnTo>
                  <a:pt x="640800" y="914400"/>
                </a:lnTo>
                <a:lnTo>
                  <a:pt x="639537" y="914400"/>
                </a:lnTo>
                <a:lnTo>
                  <a:pt x="639537" y="4280091"/>
                </a:lnTo>
                <a:lnTo>
                  <a:pt x="0" y="4919628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5" name="Полилиния: фигура 114">
            <a:extLst>
              <a:ext uri="{FF2B5EF4-FFF2-40B4-BE49-F238E27FC236}">
                <a16:creationId xmlns:a16="http://schemas.microsoft.com/office/drawing/2014/main" id="{1080C500-E1F3-41A1-859D-E9BB186C608F}"/>
              </a:ext>
            </a:extLst>
          </p:cNvPr>
          <p:cNvSpPr/>
          <p:nvPr/>
        </p:nvSpPr>
        <p:spPr>
          <a:xfrm>
            <a:off x="2337657" y="0"/>
            <a:ext cx="640800" cy="4706448"/>
          </a:xfrm>
          <a:custGeom>
            <a:avLst/>
            <a:gdLst>
              <a:gd name="connsiteX0" fmla="*/ 0 w 640800"/>
              <a:gd name="connsiteY0" fmla="*/ 0 h 4706448"/>
              <a:gd name="connsiteX1" fmla="*/ 640800 w 640800"/>
              <a:gd name="connsiteY1" fmla="*/ 0 h 4706448"/>
              <a:gd name="connsiteX2" fmla="*/ 640800 w 640800"/>
              <a:gd name="connsiteY2" fmla="*/ 228235 h 4706448"/>
              <a:gd name="connsiteX3" fmla="*/ 640800 w 640800"/>
              <a:gd name="connsiteY3" fmla="*/ 914399 h 4706448"/>
              <a:gd name="connsiteX4" fmla="*/ 640800 w 640800"/>
              <a:gd name="connsiteY4" fmla="*/ 4066911 h 4706448"/>
              <a:gd name="connsiteX5" fmla="*/ 535 w 640800"/>
              <a:gd name="connsiteY5" fmla="*/ 4706448 h 4706448"/>
              <a:gd name="connsiteX6" fmla="*/ 535 w 640800"/>
              <a:gd name="connsiteY6" fmla="*/ 914399 h 4706448"/>
              <a:gd name="connsiteX7" fmla="*/ 0 w 640800"/>
              <a:gd name="connsiteY7" fmla="*/ 914399 h 4706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706448">
                <a:moveTo>
                  <a:pt x="0" y="0"/>
                </a:moveTo>
                <a:lnTo>
                  <a:pt x="640800" y="0"/>
                </a:lnTo>
                <a:lnTo>
                  <a:pt x="640800" y="228235"/>
                </a:lnTo>
                <a:lnTo>
                  <a:pt x="640800" y="914399"/>
                </a:lnTo>
                <a:lnTo>
                  <a:pt x="640800" y="4066911"/>
                </a:lnTo>
                <a:lnTo>
                  <a:pt x="535" y="4706448"/>
                </a:lnTo>
                <a:lnTo>
                  <a:pt x="535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8" name="Полилиния: фигура 117">
            <a:extLst>
              <a:ext uri="{FF2B5EF4-FFF2-40B4-BE49-F238E27FC236}">
                <a16:creationId xmlns:a16="http://schemas.microsoft.com/office/drawing/2014/main" id="{74A4B6E7-2238-4377-9F71-463F621D9F03}"/>
              </a:ext>
            </a:extLst>
          </p:cNvPr>
          <p:cNvSpPr/>
          <p:nvPr userDrawn="1"/>
        </p:nvSpPr>
        <p:spPr>
          <a:xfrm>
            <a:off x="3616730" y="0"/>
            <a:ext cx="640800" cy="4493268"/>
          </a:xfrm>
          <a:custGeom>
            <a:avLst/>
            <a:gdLst>
              <a:gd name="connsiteX0" fmla="*/ 0 w 640800"/>
              <a:gd name="connsiteY0" fmla="*/ 0 h 4493268"/>
              <a:gd name="connsiteX1" fmla="*/ 640800 w 640800"/>
              <a:gd name="connsiteY1" fmla="*/ 0 h 4493268"/>
              <a:gd name="connsiteX2" fmla="*/ 640800 w 640800"/>
              <a:gd name="connsiteY2" fmla="*/ 441413 h 4493268"/>
              <a:gd name="connsiteX3" fmla="*/ 640800 w 640800"/>
              <a:gd name="connsiteY3" fmla="*/ 914399 h 4493268"/>
              <a:gd name="connsiteX4" fmla="*/ 640800 w 640800"/>
              <a:gd name="connsiteY4" fmla="*/ 3853004 h 4493268"/>
              <a:gd name="connsiteX5" fmla="*/ 1263 w 640800"/>
              <a:gd name="connsiteY5" fmla="*/ 4493268 h 4493268"/>
              <a:gd name="connsiteX6" fmla="*/ 1263 w 640800"/>
              <a:gd name="connsiteY6" fmla="*/ 914399 h 4493268"/>
              <a:gd name="connsiteX7" fmla="*/ 0 w 640800"/>
              <a:gd name="connsiteY7" fmla="*/ 914399 h 4493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493268">
                <a:moveTo>
                  <a:pt x="0" y="0"/>
                </a:moveTo>
                <a:lnTo>
                  <a:pt x="640800" y="0"/>
                </a:lnTo>
                <a:lnTo>
                  <a:pt x="640800" y="441413"/>
                </a:lnTo>
                <a:lnTo>
                  <a:pt x="640800" y="914399"/>
                </a:lnTo>
                <a:lnTo>
                  <a:pt x="640800" y="3853004"/>
                </a:lnTo>
                <a:lnTo>
                  <a:pt x="1263" y="4493268"/>
                </a:lnTo>
                <a:lnTo>
                  <a:pt x="1263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7" name="Полилиния: фигура 106">
            <a:extLst>
              <a:ext uri="{FF2B5EF4-FFF2-40B4-BE49-F238E27FC236}">
                <a16:creationId xmlns:a16="http://schemas.microsoft.com/office/drawing/2014/main" id="{9969CFF9-EA23-4816-A325-913254C85A5D}"/>
              </a:ext>
            </a:extLst>
          </p:cNvPr>
          <p:cNvSpPr/>
          <p:nvPr/>
        </p:nvSpPr>
        <p:spPr>
          <a:xfrm>
            <a:off x="4896533" y="0"/>
            <a:ext cx="640800" cy="4280090"/>
          </a:xfrm>
          <a:custGeom>
            <a:avLst/>
            <a:gdLst>
              <a:gd name="connsiteX0" fmla="*/ 0 w 640800"/>
              <a:gd name="connsiteY0" fmla="*/ 0 h 4280090"/>
              <a:gd name="connsiteX1" fmla="*/ 640800 w 640800"/>
              <a:gd name="connsiteY1" fmla="*/ 0 h 4280090"/>
              <a:gd name="connsiteX2" fmla="*/ 640800 w 640800"/>
              <a:gd name="connsiteY2" fmla="*/ 654593 h 4280090"/>
              <a:gd name="connsiteX3" fmla="*/ 640800 w 640800"/>
              <a:gd name="connsiteY3" fmla="*/ 914400 h 4280090"/>
              <a:gd name="connsiteX4" fmla="*/ 640800 w 640800"/>
              <a:gd name="connsiteY4" fmla="*/ 3639826 h 4280090"/>
              <a:gd name="connsiteX5" fmla="*/ 1263 w 640800"/>
              <a:gd name="connsiteY5" fmla="*/ 4280090 h 4280090"/>
              <a:gd name="connsiteX6" fmla="*/ 1263 w 640800"/>
              <a:gd name="connsiteY6" fmla="*/ 914400 h 4280090"/>
              <a:gd name="connsiteX7" fmla="*/ 0 w 640800"/>
              <a:gd name="connsiteY7" fmla="*/ 914400 h 4280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280090">
                <a:moveTo>
                  <a:pt x="0" y="0"/>
                </a:moveTo>
                <a:lnTo>
                  <a:pt x="640800" y="0"/>
                </a:lnTo>
                <a:lnTo>
                  <a:pt x="640800" y="654593"/>
                </a:lnTo>
                <a:lnTo>
                  <a:pt x="640800" y="914400"/>
                </a:lnTo>
                <a:lnTo>
                  <a:pt x="640800" y="3639826"/>
                </a:lnTo>
                <a:lnTo>
                  <a:pt x="1263" y="4280090"/>
                </a:lnTo>
                <a:lnTo>
                  <a:pt x="1263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99" name="Полилиния: фигура 98">
            <a:extLst>
              <a:ext uri="{FF2B5EF4-FFF2-40B4-BE49-F238E27FC236}">
                <a16:creationId xmlns:a16="http://schemas.microsoft.com/office/drawing/2014/main" id="{EBBD11E5-3800-4C06-8C9D-FA6A9A56A45A}"/>
              </a:ext>
            </a:extLst>
          </p:cNvPr>
          <p:cNvSpPr/>
          <p:nvPr/>
        </p:nvSpPr>
        <p:spPr>
          <a:xfrm>
            <a:off x="1697392" y="4706447"/>
            <a:ext cx="640801" cy="2151553"/>
          </a:xfrm>
          <a:custGeom>
            <a:avLst/>
            <a:gdLst>
              <a:gd name="connsiteX0" fmla="*/ 640801 w 640801"/>
              <a:gd name="connsiteY0" fmla="*/ 0 h 2151553"/>
              <a:gd name="connsiteX1" fmla="*/ 640801 w 640801"/>
              <a:gd name="connsiteY1" fmla="*/ 1629036 h 2151553"/>
              <a:gd name="connsiteX2" fmla="*/ 640800 w 640801"/>
              <a:gd name="connsiteY2" fmla="*/ 1629036 h 2151553"/>
              <a:gd name="connsiteX3" fmla="*/ 640800 w 640801"/>
              <a:gd name="connsiteY3" fmla="*/ 2151553 h 2151553"/>
              <a:gd name="connsiteX4" fmla="*/ 0 w 640801"/>
              <a:gd name="connsiteY4" fmla="*/ 2151553 h 2151553"/>
              <a:gd name="connsiteX5" fmla="*/ 0 w 640801"/>
              <a:gd name="connsiteY5" fmla="*/ 1237153 h 2151553"/>
              <a:gd name="connsiteX6" fmla="*/ 1264 w 640801"/>
              <a:gd name="connsiteY6" fmla="*/ 1237153 h 2151553"/>
              <a:gd name="connsiteX7" fmla="*/ 1264 w 640801"/>
              <a:gd name="connsiteY7" fmla="*/ 639537 h 2151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1" h="2151553">
                <a:moveTo>
                  <a:pt x="640801" y="0"/>
                </a:moveTo>
                <a:lnTo>
                  <a:pt x="640801" y="1629036"/>
                </a:lnTo>
                <a:lnTo>
                  <a:pt x="640800" y="1629036"/>
                </a:lnTo>
                <a:lnTo>
                  <a:pt x="640800" y="2151553"/>
                </a:lnTo>
                <a:lnTo>
                  <a:pt x="0" y="2151553"/>
                </a:lnTo>
                <a:lnTo>
                  <a:pt x="0" y="1237153"/>
                </a:lnTo>
                <a:lnTo>
                  <a:pt x="1264" y="1237153"/>
                </a:lnTo>
                <a:lnTo>
                  <a:pt x="1264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0" name="Полилиния: фигура 99">
            <a:extLst>
              <a:ext uri="{FF2B5EF4-FFF2-40B4-BE49-F238E27FC236}">
                <a16:creationId xmlns:a16="http://schemas.microsoft.com/office/drawing/2014/main" id="{91B0E24D-062D-4366-B715-F55EF2FBDB9D}"/>
              </a:ext>
            </a:extLst>
          </p:cNvPr>
          <p:cNvSpPr/>
          <p:nvPr/>
        </p:nvSpPr>
        <p:spPr>
          <a:xfrm>
            <a:off x="418855" y="4919627"/>
            <a:ext cx="640800" cy="1938373"/>
          </a:xfrm>
          <a:custGeom>
            <a:avLst/>
            <a:gdLst>
              <a:gd name="connsiteX0" fmla="*/ 640265 w 640800"/>
              <a:gd name="connsiteY0" fmla="*/ 0 h 1938373"/>
              <a:gd name="connsiteX1" fmla="*/ 640265 w 640800"/>
              <a:gd name="connsiteY1" fmla="*/ 1023973 h 1938373"/>
              <a:gd name="connsiteX2" fmla="*/ 640800 w 640800"/>
              <a:gd name="connsiteY2" fmla="*/ 1023973 h 1938373"/>
              <a:gd name="connsiteX3" fmla="*/ 640800 w 640800"/>
              <a:gd name="connsiteY3" fmla="*/ 1938373 h 1938373"/>
              <a:gd name="connsiteX4" fmla="*/ 0 w 640800"/>
              <a:gd name="connsiteY4" fmla="*/ 1938373 h 1938373"/>
              <a:gd name="connsiteX5" fmla="*/ 0 w 640800"/>
              <a:gd name="connsiteY5" fmla="*/ 1415857 h 1938373"/>
              <a:gd name="connsiteX6" fmla="*/ 0 w 640800"/>
              <a:gd name="connsiteY6" fmla="*/ 1023973 h 1938373"/>
              <a:gd name="connsiteX7" fmla="*/ 0 w 640800"/>
              <a:gd name="connsiteY7" fmla="*/ 639537 h 193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1938373">
                <a:moveTo>
                  <a:pt x="640265" y="0"/>
                </a:moveTo>
                <a:lnTo>
                  <a:pt x="640265" y="1023973"/>
                </a:lnTo>
                <a:lnTo>
                  <a:pt x="640800" y="1023973"/>
                </a:lnTo>
                <a:lnTo>
                  <a:pt x="640800" y="1938373"/>
                </a:lnTo>
                <a:lnTo>
                  <a:pt x="0" y="1938373"/>
                </a:lnTo>
                <a:lnTo>
                  <a:pt x="0" y="1415857"/>
                </a:lnTo>
                <a:lnTo>
                  <a:pt x="0" y="1023973"/>
                </a:lnTo>
                <a:lnTo>
                  <a:pt x="0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37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/>
          </a:p>
        </p:txBody>
      </p:sp>
      <p:sp>
        <p:nvSpPr>
          <p:cNvPr id="97" name="Полилиния: фигура 96">
            <a:extLst>
              <a:ext uri="{FF2B5EF4-FFF2-40B4-BE49-F238E27FC236}">
                <a16:creationId xmlns:a16="http://schemas.microsoft.com/office/drawing/2014/main" id="{4DEEB83B-D4A1-493A-AD6A-B5158CBDE89D}"/>
              </a:ext>
            </a:extLst>
          </p:cNvPr>
          <p:cNvSpPr/>
          <p:nvPr userDrawn="1"/>
        </p:nvSpPr>
        <p:spPr>
          <a:xfrm>
            <a:off x="2977195" y="4493268"/>
            <a:ext cx="640800" cy="2364732"/>
          </a:xfrm>
          <a:custGeom>
            <a:avLst/>
            <a:gdLst>
              <a:gd name="connsiteX0" fmla="*/ 640800 w 640800"/>
              <a:gd name="connsiteY0" fmla="*/ 0 h 2364732"/>
              <a:gd name="connsiteX1" fmla="*/ 640800 w 640800"/>
              <a:gd name="connsiteY1" fmla="*/ 1450332 h 2364732"/>
              <a:gd name="connsiteX2" fmla="*/ 640800 w 640800"/>
              <a:gd name="connsiteY2" fmla="*/ 1842215 h 2364732"/>
              <a:gd name="connsiteX3" fmla="*/ 640800 w 640800"/>
              <a:gd name="connsiteY3" fmla="*/ 2364732 h 2364732"/>
              <a:gd name="connsiteX4" fmla="*/ 0 w 640800"/>
              <a:gd name="connsiteY4" fmla="*/ 2364732 h 2364732"/>
              <a:gd name="connsiteX5" fmla="*/ 0 w 640800"/>
              <a:gd name="connsiteY5" fmla="*/ 1450332 h 2364732"/>
              <a:gd name="connsiteX6" fmla="*/ 1263 w 640800"/>
              <a:gd name="connsiteY6" fmla="*/ 1450332 h 2364732"/>
              <a:gd name="connsiteX7" fmla="*/ 1263 w 640800"/>
              <a:gd name="connsiteY7" fmla="*/ 639537 h 236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64732">
                <a:moveTo>
                  <a:pt x="640800" y="0"/>
                </a:moveTo>
                <a:lnTo>
                  <a:pt x="640800" y="1450332"/>
                </a:lnTo>
                <a:lnTo>
                  <a:pt x="640800" y="1842215"/>
                </a:lnTo>
                <a:lnTo>
                  <a:pt x="640800" y="2364732"/>
                </a:lnTo>
                <a:lnTo>
                  <a:pt x="0" y="2364732"/>
                </a:lnTo>
                <a:lnTo>
                  <a:pt x="0" y="1450332"/>
                </a:lnTo>
                <a:lnTo>
                  <a:pt x="1263" y="1450332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3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6" name="Полилиния: фигура 95">
            <a:extLst>
              <a:ext uri="{FF2B5EF4-FFF2-40B4-BE49-F238E27FC236}">
                <a16:creationId xmlns:a16="http://schemas.microsoft.com/office/drawing/2014/main" id="{BF3FCD6D-06D6-4940-8A8A-C0D3C72A5930}"/>
              </a:ext>
            </a:extLst>
          </p:cNvPr>
          <p:cNvSpPr/>
          <p:nvPr userDrawn="1"/>
        </p:nvSpPr>
        <p:spPr>
          <a:xfrm>
            <a:off x="4256998" y="4280091"/>
            <a:ext cx="640800" cy="2577909"/>
          </a:xfrm>
          <a:custGeom>
            <a:avLst/>
            <a:gdLst>
              <a:gd name="connsiteX0" fmla="*/ 640800 w 640800"/>
              <a:gd name="connsiteY0" fmla="*/ 0 h 2577909"/>
              <a:gd name="connsiteX1" fmla="*/ 640800 w 640800"/>
              <a:gd name="connsiteY1" fmla="*/ 1663509 h 2577909"/>
              <a:gd name="connsiteX2" fmla="*/ 640800 w 640800"/>
              <a:gd name="connsiteY2" fmla="*/ 2055394 h 2577909"/>
              <a:gd name="connsiteX3" fmla="*/ 640800 w 640800"/>
              <a:gd name="connsiteY3" fmla="*/ 2577909 h 2577909"/>
              <a:gd name="connsiteX4" fmla="*/ 0 w 640800"/>
              <a:gd name="connsiteY4" fmla="*/ 2577909 h 2577909"/>
              <a:gd name="connsiteX5" fmla="*/ 0 w 640800"/>
              <a:gd name="connsiteY5" fmla="*/ 1663509 h 2577909"/>
              <a:gd name="connsiteX6" fmla="*/ 535 w 640800"/>
              <a:gd name="connsiteY6" fmla="*/ 1663509 h 2577909"/>
              <a:gd name="connsiteX7" fmla="*/ 535 w 640800"/>
              <a:gd name="connsiteY7" fmla="*/ 639537 h 257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577909">
                <a:moveTo>
                  <a:pt x="640800" y="0"/>
                </a:moveTo>
                <a:lnTo>
                  <a:pt x="640800" y="1663509"/>
                </a:lnTo>
                <a:lnTo>
                  <a:pt x="640800" y="2055394"/>
                </a:lnTo>
                <a:lnTo>
                  <a:pt x="640800" y="2577909"/>
                </a:lnTo>
                <a:lnTo>
                  <a:pt x="0" y="2577909"/>
                </a:lnTo>
                <a:lnTo>
                  <a:pt x="0" y="1663509"/>
                </a:lnTo>
                <a:lnTo>
                  <a:pt x="535" y="1663509"/>
                </a:lnTo>
                <a:lnTo>
                  <a:pt x="535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5" name="Полилиния: фигура 94">
            <a:extLst>
              <a:ext uri="{FF2B5EF4-FFF2-40B4-BE49-F238E27FC236}">
                <a16:creationId xmlns:a16="http://schemas.microsoft.com/office/drawing/2014/main" id="{79A41FE2-A269-46F7-AAA1-4D87796A51CA}"/>
              </a:ext>
            </a:extLst>
          </p:cNvPr>
          <p:cNvSpPr/>
          <p:nvPr userDrawn="1"/>
        </p:nvSpPr>
        <p:spPr>
          <a:xfrm>
            <a:off x="5536071" y="4066912"/>
            <a:ext cx="640800" cy="2791088"/>
          </a:xfrm>
          <a:custGeom>
            <a:avLst/>
            <a:gdLst>
              <a:gd name="connsiteX0" fmla="*/ 640800 w 640800"/>
              <a:gd name="connsiteY0" fmla="*/ 0 h 2791088"/>
              <a:gd name="connsiteX1" fmla="*/ 640800 w 640800"/>
              <a:gd name="connsiteY1" fmla="*/ 1876688 h 2791088"/>
              <a:gd name="connsiteX2" fmla="*/ 640800 w 640800"/>
              <a:gd name="connsiteY2" fmla="*/ 2268573 h 2791088"/>
              <a:gd name="connsiteX3" fmla="*/ 640800 w 640800"/>
              <a:gd name="connsiteY3" fmla="*/ 2791088 h 2791088"/>
              <a:gd name="connsiteX4" fmla="*/ 0 w 640800"/>
              <a:gd name="connsiteY4" fmla="*/ 2791088 h 2791088"/>
              <a:gd name="connsiteX5" fmla="*/ 0 w 640800"/>
              <a:gd name="connsiteY5" fmla="*/ 1876688 h 2791088"/>
              <a:gd name="connsiteX6" fmla="*/ 1263 w 640800"/>
              <a:gd name="connsiteY6" fmla="*/ 1876688 h 2791088"/>
              <a:gd name="connsiteX7" fmla="*/ 1263 w 640800"/>
              <a:gd name="connsiteY7" fmla="*/ 639537 h 279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791088">
                <a:moveTo>
                  <a:pt x="640800" y="0"/>
                </a:moveTo>
                <a:lnTo>
                  <a:pt x="640800" y="1876688"/>
                </a:lnTo>
                <a:lnTo>
                  <a:pt x="640800" y="2268573"/>
                </a:lnTo>
                <a:lnTo>
                  <a:pt x="640800" y="2791088"/>
                </a:lnTo>
                <a:lnTo>
                  <a:pt x="0" y="2791088"/>
                </a:lnTo>
                <a:lnTo>
                  <a:pt x="0" y="1876688"/>
                </a:lnTo>
                <a:lnTo>
                  <a:pt x="1263" y="1876688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4" name="Полилиния: фигура 93">
            <a:extLst>
              <a:ext uri="{FF2B5EF4-FFF2-40B4-BE49-F238E27FC236}">
                <a16:creationId xmlns:a16="http://schemas.microsoft.com/office/drawing/2014/main" id="{1AA19B25-CED2-4730-B85C-BE30DD0760C3}"/>
              </a:ext>
            </a:extLst>
          </p:cNvPr>
          <p:cNvSpPr/>
          <p:nvPr userDrawn="1"/>
        </p:nvSpPr>
        <p:spPr>
          <a:xfrm>
            <a:off x="6815872" y="3853004"/>
            <a:ext cx="640800" cy="3004996"/>
          </a:xfrm>
          <a:custGeom>
            <a:avLst/>
            <a:gdLst>
              <a:gd name="connsiteX0" fmla="*/ 640800 w 640800"/>
              <a:gd name="connsiteY0" fmla="*/ 0 h 3004996"/>
              <a:gd name="connsiteX1" fmla="*/ 640800 w 640800"/>
              <a:gd name="connsiteY1" fmla="*/ 2090596 h 3004996"/>
              <a:gd name="connsiteX2" fmla="*/ 640800 w 640800"/>
              <a:gd name="connsiteY2" fmla="*/ 2482480 h 3004996"/>
              <a:gd name="connsiteX3" fmla="*/ 640800 w 640800"/>
              <a:gd name="connsiteY3" fmla="*/ 3004996 h 3004996"/>
              <a:gd name="connsiteX4" fmla="*/ 0 w 640800"/>
              <a:gd name="connsiteY4" fmla="*/ 3004996 h 3004996"/>
              <a:gd name="connsiteX5" fmla="*/ 0 w 640800"/>
              <a:gd name="connsiteY5" fmla="*/ 2090596 h 3004996"/>
              <a:gd name="connsiteX6" fmla="*/ 1264 w 640800"/>
              <a:gd name="connsiteY6" fmla="*/ 2090596 h 3004996"/>
              <a:gd name="connsiteX7" fmla="*/ 1264 w 640800"/>
              <a:gd name="connsiteY7" fmla="*/ 640264 h 300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3004996">
                <a:moveTo>
                  <a:pt x="640800" y="0"/>
                </a:moveTo>
                <a:lnTo>
                  <a:pt x="640800" y="2090596"/>
                </a:lnTo>
                <a:lnTo>
                  <a:pt x="640800" y="2482480"/>
                </a:lnTo>
                <a:lnTo>
                  <a:pt x="640800" y="3004996"/>
                </a:lnTo>
                <a:lnTo>
                  <a:pt x="0" y="3004996"/>
                </a:lnTo>
                <a:lnTo>
                  <a:pt x="0" y="2090596"/>
                </a:lnTo>
                <a:lnTo>
                  <a:pt x="1264" y="2090596"/>
                </a:lnTo>
                <a:lnTo>
                  <a:pt x="1264" y="640264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106" name="Полилиния: фигура 105">
            <a:extLst>
              <a:ext uri="{FF2B5EF4-FFF2-40B4-BE49-F238E27FC236}">
                <a16:creationId xmlns:a16="http://schemas.microsoft.com/office/drawing/2014/main" id="{EA90A305-B0ED-471E-AC84-D59C48E4B839}"/>
              </a:ext>
            </a:extLst>
          </p:cNvPr>
          <p:cNvSpPr/>
          <p:nvPr userDrawn="1"/>
        </p:nvSpPr>
        <p:spPr>
          <a:xfrm>
            <a:off x="6176336" y="0"/>
            <a:ext cx="640800" cy="4066911"/>
          </a:xfrm>
          <a:custGeom>
            <a:avLst/>
            <a:gdLst>
              <a:gd name="connsiteX0" fmla="*/ 0 w 640800"/>
              <a:gd name="connsiteY0" fmla="*/ 0 h 4066911"/>
              <a:gd name="connsiteX1" fmla="*/ 640800 w 640800"/>
              <a:gd name="connsiteY1" fmla="*/ 0 h 4066911"/>
              <a:gd name="connsiteX2" fmla="*/ 640800 w 640800"/>
              <a:gd name="connsiteY2" fmla="*/ 867772 h 4066911"/>
              <a:gd name="connsiteX3" fmla="*/ 640800 w 640800"/>
              <a:gd name="connsiteY3" fmla="*/ 914400 h 4066911"/>
              <a:gd name="connsiteX4" fmla="*/ 640800 w 640800"/>
              <a:gd name="connsiteY4" fmla="*/ 3426647 h 4066911"/>
              <a:gd name="connsiteX5" fmla="*/ 535 w 640800"/>
              <a:gd name="connsiteY5" fmla="*/ 4066911 h 4066911"/>
              <a:gd name="connsiteX6" fmla="*/ 535 w 640800"/>
              <a:gd name="connsiteY6" fmla="*/ 914400 h 4066911"/>
              <a:gd name="connsiteX7" fmla="*/ 0 w 640800"/>
              <a:gd name="connsiteY7" fmla="*/ 914400 h 4066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066911">
                <a:moveTo>
                  <a:pt x="0" y="0"/>
                </a:moveTo>
                <a:lnTo>
                  <a:pt x="640800" y="0"/>
                </a:lnTo>
                <a:lnTo>
                  <a:pt x="640800" y="867772"/>
                </a:lnTo>
                <a:lnTo>
                  <a:pt x="640800" y="914400"/>
                </a:lnTo>
                <a:lnTo>
                  <a:pt x="640800" y="3426647"/>
                </a:lnTo>
                <a:lnTo>
                  <a:pt x="535" y="4066911"/>
                </a:lnTo>
                <a:lnTo>
                  <a:pt x="535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125" name="Полилиния: фигура 124">
            <a:extLst>
              <a:ext uri="{FF2B5EF4-FFF2-40B4-BE49-F238E27FC236}">
                <a16:creationId xmlns:a16="http://schemas.microsoft.com/office/drawing/2014/main" id="{091B8521-7793-4693-B444-4C03B3B4A9CD}"/>
              </a:ext>
            </a:extLst>
          </p:cNvPr>
          <p:cNvSpPr/>
          <p:nvPr userDrawn="1"/>
        </p:nvSpPr>
        <p:spPr>
          <a:xfrm>
            <a:off x="-1" y="1"/>
            <a:ext cx="241108" cy="4816587"/>
          </a:xfrm>
          <a:custGeom>
            <a:avLst/>
            <a:gdLst>
              <a:gd name="connsiteX0" fmla="*/ 0 w 241108"/>
              <a:gd name="connsiteY0" fmla="*/ 0 h 4816587"/>
              <a:gd name="connsiteX1" fmla="*/ 241108 w 241108"/>
              <a:gd name="connsiteY1" fmla="*/ 0 h 4816587"/>
              <a:gd name="connsiteX2" fmla="*/ 241108 w 241108"/>
              <a:gd name="connsiteY2" fmla="*/ 870342 h 4816587"/>
              <a:gd name="connsiteX3" fmla="*/ 241107 w 241108"/>
              <a:gd name="connsiteY3" fmla="*/ 870342 h 4816587"/>
              <a:gd name="connsiteX4" fmla="*/ 241107 w 241108"/>
              <a:gd name="connsiteY4" fmla="*/ 1211052 h 4816587"/>
              <a:gd name="connsiteX5" fmla="*/ 239844 w 241108"/>
              <a:gd name="connsiteY5" fmla="*/ 1211052 h 4816587"/>
              <a:gd name="connsiteX6" fmla="*/ 239844 w 241108"/>
              <a:gd name="connsiteY6" fmla="*/ 4576743 h 4816587"/>
              <a:gd name="connsiteX7" fmla="*/ 0 w 241108"/>
              <a:gd name="connsiteY7" fmla="*/ 4816587 h 481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1108" h="4816587">
                <a:moveTo>
                  <a:pt x="0" y="0"/>
                </a:moveTo>
                <a:lnTo>
                  <a:pt x="241108" y="0"/>
                </a:lnTo>
                <a:lnTo>
                  <a:pt x="241108" y="870342"/>
                </a:lnTo>
                <a:lnTo>
                  <a:pt x="241107" y="870342"/>
                </a:lnTo>
                <a:lnTo>
                  <a:pt x="241107" y="1211052"/>
                </a:lnTo>
                <a:lnTo>
                  <a:pt x="239844" y="1211052"/>
                </a:lnTo>
                <a:lnTo>
                  <a:pt x="239844" y="4576743"/>
                </a:lnTo>
                <a:lnTo>
                  <a:pt x="0" y="481658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grpSp>
        <p:nvGrpSpPr>
          <p:cNvPr id="8" name="Рисунок 3">
            <a:extLst>
              <a:ext uri="{FF2B5EF4-FFF2-40B4-BE49-F238E27FC236}">
                <a16:creationId xmlns:a16="http://schemas.microsoft.com/office/drawing/2014/main" id="{D663A8F4-12F9-49EE-A891-BBC78F6B8D5D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9EB08345-EDEA-4E5F-8C73-ECA9ED5D8D65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C4E78553-2D46-4B56-A19D-70262B236649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28" name="Текст 39">
            <a:extLst>
              <a:ext uri="{FF2B5EF4-FFF2-40B4-BE49-F238E27FC236}">
                <a16:creationId xmlns:a16="http://schemas.microsoft.com/office/drawing/2014/main" id="{4177F1F4-2CA1-4AF9-87CA-005A9747E0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3629" y="2553605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29" name="Текст 26">
            <a:extLst>
              <a:ext uri="{FF2B5EF4-FFF2-40B4-BE49-F238E27FC236}">
                <a16:creationId xmlns:a16="http://schemas.microsoft.com/office/drawing/2014/main" id="{D643C23A-21DF-4A11-9613-BE047F654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555367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130" name="Текст 26">
            <a:extLst>
              <a:ext uri="{FF2B5EF4-FFF2-40B4-BE49-F238E27FC236}">
                <a16:creationId xmlns:a16="http://schemas.microsoft.com/office/drawing/2014/main" id="{96C130DF-2DCF-4E01-A041-882E668D91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5425" y="589338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131" name="Рисунок 10">
            <a:extLst>
              <a:ext uri="{FF2B5EF4-FFF2-40B4-BE49-F238E27FC236}">
                <a16:creationId xmlns:a16="http://schemas.microsoft.com/office/drawing/2014/main" id="{B6AA3FB8-AFE3-4F22-A75F-31D9DBFF8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5" name="Graphic 17">
            <a:extLst>
              <a:ext uri="{FF2B5EF4-FFF2-40B4-BE49-F238E27FC236}">
                <a16:creationId xmlns:a16="http://schemas.microsoft.com/office/drawing/2014/main" id="{2C9AA463-E793-494A-8206-B6BED4BC2879}"/>
              </a:ext>
            </a:extLst>
          </p:cNvPr>
          <p:cNvSpPr/>
          <p:nvPr/>
        </p:nvSpPr>
        <p:spPr>
          <a:xfrm>
            <a:off x="426123" y="5552208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6" name="Graphic 5">
            <a:extLst>
              <a:ext uri="{FF2B5EF4-FFF2-40B4-BE49-F238E27FC236}">
                <a16:creationId xmlns:a16="http://schemas.microsoft.com/office/drawing/2014/main" id="{67FF1BB9-87BE-4A1D-B320-4EF231DE6EFB}"/>
              </a:ext>
            </a:extLst>
          </p:cNvPr>
          <p:cNvGrpSpPr/>
          <p:nvPr/>
        </p:nvGrpSpPr>
        <p:grpSpPr>
          <a:xfrm>
            <a:off x="423152" y="5898188"/>
            <a:ext cx="192624" cy="192624"/>
            <a:chOff x="423152" y="5898188"/>
            <a:chExt cx="192624" cy="192624"/>
          </a:xfrm>
          <a:solidFill>
            <a:srgbClr val="FFFFFF"/>
          </a:solidFill>
        </p:grpSpPr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23D8B1EB-8596-431D-8D9A-1E4B16C050B5}"/>
                </a:ext>
              </a:extLst>
            </p:cNvPr>
            <p:cNvSpPr/>
            <p:nvPr/>
          </p:nvSpPr>
          <p:spPr>
            <a:xfrm>
              <a:off x="423152" y="5898188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0E54E79B-34B5-4ACE-9864-B09062E0F846}"/>
                </a:ext>
              </a:extLst>
            </p:cNvPr>
            <p:cNvSpPr/>
            <p:nvPr/>
          </p:nvSpPr>
          <p:spPr>
            <a:xfrm>
              <a:off x="452058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AFF14E2A-6863-4FC2-88BF-0D7CD8AB46D3}"/>
                </a:ext>
              </a:extLst>
            </p:cNvPr>
            <p:cNvSpPr/>
            <p:nvPr/>
          </p:nvSpPr>
          <p:spPr>
            <a:xfrm>
              <a:off x="500201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6B25209E-9B8B-4CC4-A8C2-9BA9F90E7A15}"/>
                </a:ext>
              </a:extLst>
            </p:cNvPr>
            <p:cNvSpPr/>
            <p:nvPr/>
          </p:nvSpPr>
          <p:spPr>
            <a:xfrm>
              <a:off x="548344" y="5975237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47414B1A-F017-42D7-BA9D-3977DF66EB44}"/>
                </a:ext>
              </a:extLst>
            </p:cNvPr>
            <p:cNvSpPr/>
            <p:nvPr/>
          </p:nvSpPr>
          <p:spPr>
            <a:xfrm>
              <a:off x="452058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E60B1359-FD5A-4C91-BF42-2AAD0AC0E2D2}"/>
                </a:ext>
              </a:extLst>
            </p:cNvPr>
            <p:cNvSpPr/>
            <p:nvPr/>
          </p:nvSpPr>
          <p:spPr>
            <a:xfrm>
              <a:off x="500201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560708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Фото снизу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E86DA874-5929-4AA1-A99E-2E61BE7F20EA}"/>
              </a:ext>
            </a:extLst>
          </p:cNvPr>
          <p:cNvSpPr/>
          <p:nvPr userDrawn="1"/>
        </p:nvSpPr>
        <p:spPr>
          <a:xfrm>
            <a:off x="0" y="2606474"/>
            <a:ext cx="1600250" cy="4251526"/>
          </a:xfrm>
          <a:custGeom>
            <a:avLst/>
            <a:gdLst>
              <a:gd name="connsiteX0" fmla="*/ 0 w 1600250"/>
              <a:gd name="connsiteY0" fmla="*/ 0 h 4251526"/>
              <a:gd name="connsiteX1" fmla="*/ 1600250 w 1600250"/>
              <a:gd name="connsiteY1" fmla="*/ 0 h 4251526"/>
              <a:gd name="connsiteX2" fmla="*/ 1600250 w 1600250"/>
              <a:gd name="connsiteY2" fmla="*/ 3227840 h 4251526"/>
              <a:gd name="connsiteX3" fmla="*/ 576564 w 1600250"/>
              <a:gd name="connsiteY3" fmla="*/ 4251526 h 4251526"/>
              <a:gd name="connsiteX4" fmla="*/ 0 w 1600250"/>
              <a:gd name="connsiteY4" fmla="*/ 4251526 h 4251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250" h="4251526">
                <a:moveTo>
                  <a:pt x="0" y="0"/>
                </a:moveTo>
                <a:lnTo>
                  <a:pt x="1600250" y="0"/>
                </a:lnTo>
                <a:lnTo>
                  <a:pt x="1600250" y="3227840"/>
                </a:lnTo>
                <a:lnTo>
                  <a:pt x="576564" y="4251526"/>
                </a:lnTo>
                <a:lnTo>
                  <a:pt x="0" y="4251526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DF71C1D4-9A88-44B1-9471-91C20B1BB2FF}"/>
              </a:ext>
            </a:extLst>
          </p:cNvPr>
          <p:cNvSpPr/>
          <p:nvPr userDrawn="1"/>
        </p:nvSpPr>
        <p:spPr>
          <a:xfrm>
            <a:off x="1600250" y="4220394"/>
            <a:ext cx="4841760" cy="2637607"/>
          </a:xfrm>
          <a:custGeom>
            <a:avLst/>
            <a:gdLst>
              <a:gd name="connsiteX0" fmla="*/ 1613920 w 4841760"/>
              <a:gd name="connsiteY0" fmla="*/ 0 h 2637607"/>
              <a:gd name="connsiteX1" fmla="*/ 4841760 w 4841760"/>
              <a:gd name="connsiteY1" fmla="*/ 0 h 2637607"/>
              <a:gd name="connsiteX2" fmla="*/ 4841760 w 4841760"/>
              <a:gd name="connsiteY2" fmla="*/ 2637607 h 2637607"/>
              <a:gd name="connsiteX3" fmla="*/ 3227840 w 4841760"/>
              <a:gd name="connsiteY3" fmla="*/ 2637607 h 2637607"/>
              <a:gd name="connsiteX4" fmla="*/ 3227840 w 4841760"/>
              <a:gd name="connsiteY4" fmla="*/ 1613920 h 2637607"/>
              <a:gd name="connsiteX5" fmla="*/ 0 w 4841760"/>
              <a:gd name="connsiteY5" fmla="*/ 1613920 h 26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41760" h="2637607">
                <a:moveTo>
                  <a:pt x="1613920" y="0"/>
                </a:moveTo>
                <a:lnTo>
                  <a:pt x="4841760" y="0"/>
                </a:lnTo>
                <a:lnTo>
                  <a:pt x="4841760" y="2637607"/>
                </a:lnTo>
                <a:lnTo>
                  <a:pt x="3227840" y="2637607"/>
                </a:lnTo>
                <a:lnTo>
                  <a:pt x="3227840" y="1613920"/>
                </a:lnTo>
                <a:lnTo>
                  <a:pt x="0" y="161392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980C4912-F120-4F90-A1EE-6BDAFE99CDF3}"/>
              </a:ext>
            </a:extLst>
          </p:cNvPr>
          <p:cNvSpPr/>
          <p:nvPr userDrawn="1"/>
        </p:nvSpPr>
        <p:spPr>
          <a:xfrm>
            <a:off x="4828089" y="992553"/>
            <a:ext cx="4841760" cy="4841759"/>
          </a:xfrm>
          <a:custGeom>
            <a:avLst/>
            <a:gdLst>
              <a:gd name="connsiteX0" fmla="*/ 4796790 w 4796790"/>
              <a:gd name="connsiteY0" fmla="*/ 0 h 4796789"/>
              <a:gd name="connsiteX1" fmla="*/ 1598930 w 4796790"/>
              <a:gd name="connsiteY1" fmla="*/ 0 h 4796789"/>
              <a:gd name="connsiteX2" fmla="*/ 0 w 4796790"/>
              <a:gd name="connsiteY2" fmla="*/ 1598930 h 4796789"/>
              <a:gd name="connsiteX3" fmla="*/ 3197860 w 4796790"/>
              <a:gd name="connsiteY3" fmla="*/ 1598930 h 4796789"/>
              <a:gd name="connsiteX4" fmla="*/ 3197860 w 4796790"/>
              <a:gd name="connsiteY4" fmla="*/ 4796790 h 4796789"/>
              <a:gd name="connsiteX5" fmla="*/ 4796790 w 4796790"/>
              <a:gd name="connsiteY5" fmla="*/ 3197860 h 479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90" h="4796789">
                <a:moveTo>
                  <a:pt x="4796790" y="0"/>
                </a:moveTo>
                <a:lnTo>
                  <a:pt x="1598930" y="0"/>
                </a:lnTo>
                <a:lnTo>
                  <a:pt x="0" y="1598930"/>
                </a:lnTo>
                <a:lnTo>
                  <a:pt x="3197860" y="1598930"/>
                </a:lnTo>
                <a:lnTo>
                  <a:pt x="3197860" y="4796790"/>
                </a:lnTo>
                <a:lnTo>
                  <a:pt x="4796790" y="319786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3FDF4C0F-85C4-474D-A1D2-555058C06A77}"/>
              </a:ext>
            </a:extLst>
          </p:cNvPr>
          <p:cNvSpPr/>
          <p:nvPr userDrawn="1"/>
        </p:nvSpPr>
        <p:spPr>
          <a:xfrm>
            <a:off x="-13671" y="29842"/>
            <a:ext cx="4841759" cy="4190551"/>
          </a:xfrm>
          <a:custGeom>
            <a:avLst/>
            <a:gdLst>
              <a:gd name="connsiteX0" fmla="*/ 953135 w 4796789"/>
              <a:gd name="connsiteY0" fmla="*/ 0 h 4151629"/>
              <a:gd name="connsiteX1" fmla="*/ 0 w 4796789"/>
              <a:gd name="connsiteY1" fmla="*/ 953770 h 4151629"/>
              <a:gd name="connsiteX2" fmla="*/ 3197860 w 4796789"/>
              <a:gd name="connsiteY2" fmla="*/ 953770 h 4151629"/>
              <a:gd name="connsiteX3" fmla="*/ 3197860 w 4796789"/>
              <a:gd name="connsiteY3" fmla="*/ 4151630 h 4151629"/>
              <a:gd name="connsiteX4" fmla="*/ 4796790 w 4796789"/>
              <a:gd name="connsiteY4" fmla="*/ 2552700 h 4151629"/>
              <a:gd name="connsiteX5" fmla="*/ 4796790 w 4796789"/>
              <a:gd name="connsiteY5" fmla="*/ 0 h 415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89" h="4151629">
                <a:moveTo>
                  <a:pt x="953135" y="0"/>
                </a:moveTo>
                <a:lnTo>
                  <a:pt x="0" y="953770"/>
                </a:lnTo>
                <a:lnTo>
                  <a:pt x="3197860" y="953770"/>
                </a:lnTo>
                <a:lnTo>
                  <a:pt x="3197860" y="4151630"/>
                </a:lnTo>
                <a:lnTo>
                  <a:pt x="4796790" y="2552700"/>
                </a:lnTo>
                <a:lnTo>
                  <a:pt x="479679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6503AECF-4CA5-43F0-9AF3-EA4A72E46E38}"/>
              </a:ext>
            </a:extLst>
          </p:cNvPr>
          <p:cNvSpPr/>
          <p:nvPr userDrawn="1"/>
        </p:nvSpPr>
        <p:spPr>
          <a:xfrm>
            <a:off x="9669849" y="2606474"/>
            <a:ext cx="2522151" cy="1613919"/>
          </a:xfrm>
          <a:custGeom>
            <a:avLst/>
            <a:gdLst>
              <a:gd name="connsiteX0" fmla="*/ 1598930 w 2498725"/>
              <a:gd name="connsiteY0" fmla="*/ 0 h 1598929"/>
              <a:gd name="connsiteX1" fmla="*/ 0 w 2498725"/>
              <a:gd name="connsiteY1" fmla="*/ 1598930 h 1598929"/>
              <a:gd name="connsiteX2" fmla="*/ 2498725 w 2498725"/>
              <a:gd name="connsiteY2" fmla="*/ 1598930 h 1598929"/>
              <a:gd name="connsiteX3" fmla="*/ 2498725 w 2498725"/>
              <a:gd name="connsiteY3" fmla="*/ 0 h 1598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8725" h="1598929">
                <a:moveTo>
                  <a:pt x="1598930" y="0"/>
                </a:moveTo>
                <a:lnTo>
                  <a:pt x="0" y="1598930"/>
                </a:lnTo>
                <a:lnTo>
                  <a:pt x="2498725" y="1598930"/>
                </a:lnTo>
                <a:lnTo>
                  <a:pt x="24987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69F1000-9498-4503-8A1B-A9F2F74796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24" name="Рисунок 23">
            <a:extLst>
              <a:ext uri="{FF2B5EF4-FFF2-40B4-BE49-F238E27FC236}">
                <a16:creationId xmlns:a16="http://schemas.microsoft.com/office/drawing/2014/main" id="{54C8E9FF-1179-4A71-BA7A-F9962932E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96" y="3408220"/>
            <a:ext cx="12192000" cy="3449781"/>
          </a:xfrm>
          <a:custGeom>
            <a:avLst/>
            <a:gdLst>
              <a:gd name="connsiteX0" fmla="*/ 0 w 12192000"/>
              <a:gd name="connsiteY0" fmla="*/ 0 h 3449781"/>
              <a:gd name="connsiteX1" fmla="*/ 12192000 w 12192000"/>
              <a:gd name="connsiteY1" fmla="*/ 0 h 3449781"/>
              <a:gd name="connsiteX2" fmla="*/ 12192000 w 12192000"/>
              <a:gd name="connsiteY2" fmla="*/ 3449781 h 3449781"/>
              <a:gd name="connsiteX3" fmla="*/ 0 w 12192000"/>
              <a:gd name="connsiteY3" fmla="*/ 3449781 h 3449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49781">
                <a:moveTo>
                  <a:pt x="0" y="0"/>
                </a:moveTo>
                <a:lnTo>
                  <a:pt x="12192000" y="0"/>
                </a:lnTo>
                <a:lnTo>
                  <a:pt x="12192000" y="3449781"/>
                </a:lnTo>
                <a:lnTo>
                  <a:pt x="0" y="3449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74025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39">
            <a:extLst>
              <a:ext uri="{FF2B5EF4-FFF2-40B4-BE49-F238E27FC236}">
                <a16:creationId xmlns:a16="http://schemas.microsoft.com/office/drawing/2014/main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accent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0" name="Текст 26">
            <a:extLst>
              <a:ext uri="{FF2B5EF4-FFF2-40B4-BE49-F238E27FC236}">
                <a16:creationId xmlns:a16="http://schemas.microsoft.com/office/drawing/2014/main" id="{C6420719-76EA-45F3-B4D3-EBCB4430D9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555367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:a16="http://schemas.microsoft.com/office/drawing/2014/main" id="{08094B0E-B9DC-41A9-8742-E62D5644B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589338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34" name="Полилиния: фигура 33">
            <a:extLst>
              <a:ext uri="{FF2B5EF4-FFF2-40B4-BE49-F238E27FC236}">
                <a16:creationId xmlns:a16="http://schemas.microsoft.com/office/drawing/2014/main" id="{E705B174-2BCB-475F-B5F7-2AC86EA893A5}"/>
              </a:ext>
            </a:extLst>
          </p:cNvPr>
          <p:cNvSpPr/>
          <p:nvPr/>
        </p:nvSpPr>
        <p:spPr>
          <a:xfrm>
            <a:off x="11683685" y="942401"/>
            <a:ext cx="508315" cy="508315"/>
          </a:xfrm>
          <a:custGeom>
            <a:avLst/>
            <a:gdLst>
              <a:gd name="connsiteX0" fmla="*/ 508315 w 508315"/>
              <a:gd name="connsiteY0" fmla="*/ 0 h 508315"/>
              <a:gd name="connsiteX1" fmla="*/ 508315 w 508315"/>
              <a:gd name="connsiteY1" fmla="*/ 508315 h 508315"/>
              <a:gd name="connsiteX2" fmla="*/ 0 w 508315"/>
              <a:gd name="connsiteY2" fmla="*/ 508315 h 508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8315" h="508315">
                <a:moveTo>
                  <a:pt x="508315" y="0"/>
                </a:moveTo>
                <a:lnTo>
                  <a:pt x="508315" y="508315"/>
                </a:lnTo>
                <a:lnTo>
                  <a:pt x="0" y="5083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Полилиния: фигура 36">
            <a:extLst>
              <a:ext uri="{FF2B5EF4-FFF2-40B4-BE49-F238E27FC236}">
                <a16:creationId xmlns:a16="http://schemas.microsoft.com/office/drawing/2014/main" id="{0279107F-963C-4D85-BC66-580B5F59AE9D}"/>
              </a:ext>
            </a:extLst>
          </p:cNvPr>
          <p:cNvSpPr/>
          <p:nvPr/>
        </p:nvSpPr>
        <p:spPr>
          <a:xfrm>
            <a:off x="10317983" y="1"/>
            <a:ext cx="1874017" cy="1450715"/>
          </a:xfrm>
          <a:custGeom>
            <a:avLst/>
            <a:gdLst>
              <a:gd name="connsiteX0" fmla="*/ 1450715 w 1874017"/>
              <a:gd name="connsiteY0" fmla="*/ 0 h 1450715"/>
              <a:gd name="connsiteX1" fmla="*/ 1874017 w 1874017"/>
              <a:gd name="connsiteY1" fmla="*/ 0 h 1450715"/>
              <a:gd name="connsiteX2" fmla="*/ 1874017 w 1874017"/>
              <a:gd name="connsiteY2" fmla="*/ 259549 h 1450715"/>
              <a:gd name="connsiteX3" fmla="*/ 682851 w 1874017"/>
              <a:gd name="connsiteY3" fmla="*/ 1450715 h 1450715"/>
              <a:gd name="connsiteX4" fmla="*/ 0 w 1874017"/>
              <a:gd name="connsiteY4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450715">
                <a:moveTo>
                  <a:pt x="1450715" y="0"/>
                </a:moveTo>
                <a:lnTo>
                  <a:pt x="1874017" y="0"/>
                </a:lnTo>
                <a:lnTo>
                  <a:pt x="1874017" y="259549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1AA05226-25F0-4779-B93C-63C888129E15}"/>
              </a:ext>
            </a:extLst>
          </p:cNvPr>
          <p:cNvSpPr/>
          <p:nvPr/>
        </p:nvSpPr>
        <p:spPr>
          <a:xfrm>
            <a:off x="8952280" y="3840694"/>
            <a:ext cx="2389978" cy="1707128"/>
          </a:xfrm>
          <a:custGeom>
            <a:avLst/>
            <a:gdLst>
              <a:gd name="connsiteX0" fmla="*/ 1558925 w 2182494"/>
              <a:gd name="connsiteY0" fmla="*/ 0 h 1558925"/>
              <a:gd name="connsiteX1" fmla="*/ 0 w 2182494"/>
              <a:gd name="connsiteY1" fmla="*/ 1558925 h 1558925"/>
              <a:gd name="connsiteX2" fmla="*/ 623570 w 2182494"/>
              <a:gd name="connsiteY2" fmla="*/ 1558925 h 1558925"/>
              <a:gd name="connsiteX3" fmla="*/ 2182495 w 2182494"/>
              <a:gd name="connsiteY3" fmla="*/ 0 h 155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494" h="1558925">
                <a:moveTo>
                  <a:pt x="1558925" y="0"/>
                </a:moveTo>
                <a:lnTo>
                  <a:pt x="0" y="1558925"/>
                </a:lnTo>
                <a:lnTo>
                  <a:pt x="623570" y="1558925"/>
                </a:lnTo>
                <a:lnTo>
                  <a:pt x="218249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Полилиния: фигура 16">
            <a:extLst>
              <a:ext uri="{FF2B5EF4-FFF2-40B4-BE49-F238E27FC236}">
                <a16:creationId xmlns:a16="http://schemas.microsoft.com/office/drawing/2014/main" id="{5E0FE2BA-B08F-41AC-B695-558ED857DAAF}"/>
              </a:ext>
            </a:extLst>
          </p:cNvPr>
          <p:cNvSpPr/>
          <p:nvPr/>
        </p:nvSpPr>
        <p:spPr>
          <a:xfrm>
            <a:off x="8604597" y="3840694"/>
            <a:ext cx="6258" cy="6259"/>
          </a:xfrm>
          <a:custGeom>
            <a:avLst/>
            <a:gdLst>
              <a:gd name="connsiteX0" fmla="*/ 0 w 5714"/>
              <a:gd name="connsiteY0" fmla="*/ 0 h 5715"/>
              <a:gd name="connsiteX1" fmla="*/ 0 w 5714"/>
              <a:gd name="connsiteY1" fmla="*/ 5715 h 5715"/>
              <a:gd name="connsiteX2" fmla="*/ 5715 w 5714"/>
              <a:gd name="connsiteY2" fmla="*/ 0 h 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4" h="5715">
                <a:moveTo>
                  <a:pt x="0" y="0"/>
                </a:moveTo>
                <a:lnTo>
                  <a:pt x="0" y="5715"/>
                </a:lnTo>
                <a:lnTo>
                  <a:pt x="571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F54BF84A-3A49-46E7-BBCD-BB696C95E90B}"/>
              </a:ext>
            </a:extLst>
          </p:cNvPr>
          <p:cNvSpPr/>
          <p:nvPr/>
        </p:nvSpPr>
        <p:spPr>
          <a:xfrm>
            <a:off x="10317983" y="3840694"/>
            <a:ext cx="1874017" cy="1707128"/>
          </a:xfrm>
          <a:custGeom>
            <a:avLst/>
            <a:gdLst>
              <a:gd name="connsiteX0" fmla="*/ 1707128 w 1874017"/>
              <a:gd name="connsiteY0" fmla="*/ 0 h 1707128"/>
              <a:gd name="connsiteX1" fmla="*/ 1874017 w 1874017"/>
              <a:gd name="connsiteY1" fmla="*/ 0 h 1707128"/>
              <a:gd name="connsiteX2" fmla="*/ 1874017 w 1874017"/>
              <a:gd name="connsiteY2" fmla="*/ 515477 h 1707128"/>
              <a:gd name="connsiteX3" fmla="*/ 682851 w 1874017"/>
              <a:gd name="connsiteY3" fmla="*/ 1707128 h 1707128"/>
              <a:gd name="connsiteX4" fmla="*/ 0 w 1874017"/>
              <a:gd name="connsiteY4" fmla="*/ 1707128 h 17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707128">
                <a:moveTo>
                  <a:pt x="1707128" y="0"/>
                </a:moveTo>
                <a:lnTo>
                  <a:pt x="1874017" y="0"/>
                </a:lnTo>
                <a:lnTo>
                  <a:pt x="1874017" y="515477"/>
                </a:lnTo>
                <a:lnTo>
                  <a:pt x="682851" y="1707128"/>
                </a:lnTo>
                <a:lnTo>
                  <a:pt x="0" y="1707128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Полилиния: фигура 27">
            <a:extLst>
              <a:ext uri="{FF2B5EF4-FFF2-40B4-BE49-F238E27FC236}">
                <a16:creationId xmlns:a16="http://schemas.microsoft.com/office/drawing/2014/main" id="{E9AB1E05-C0C5-4FDD-B60D-054B6347BF52}"/>
              </a:ext>
            </a:extLst>
          </p:cNvPr>
          <p:cNvSpPr/>
          <p:nvPr/>
        </p:nvSpPr>
        <p:spPr>
          <a:xfrm>
            <a:off x="11342259" y="2990705"/>
            <a:ext cx="849741" cy="849988"/>
          </a:xfrm>
          <a:custGeom>
            <a:avLst/>
            <a:gdLst>
              <a:gd name="connsiteX0" fmla="*/ 849741 w 849741"/>
              <a:gd name="connsiteY0" fmla="*/ 0 h 849988"/>
              <a:gd name="connsiteX1" fmla="*/ 849741 w 849741"/>
              <a:gd name="connsiteY1" fmla="*/ 683050 h 849988"/>
              <a:gd name="connsiteX2" fmla="*/ 682851 w 849741"/>
              <a:gd name="connsiteY2" fmla="*/ 849988 h 849988"/>
              <a:gd name="connsiteX3" fmla="*/ 0 w 849741"/>
              <a:gd name="connsiteY3" fmla="*/ 849988 h 84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741" h="849988">
                <a:moveTo>
                  <a:pt x="849741" y="0"/>
                </a:moveTo>
                <a:lnTo>
                  <a:pt x="849741" y="683050"/>
                </a:lnTo>
                <a:lnTo>
                  <a:pt x="682851" y="849988"/>
                </a:lnTo>
                <a:lnTo>
                  <a:pt x="0" y="849988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id="{B4A30386-E577-43D2-B52B-1B7FBAD6C03D}"/>
              </a:ext>
            </a:extLst>
          </p:cNvPr>
          <p:cNvSpPr/>
          <p:nvPr/>
        </p:nvSpPr>
        <p:spPr>
          <a:xfrm>
            <a:off x="8610856" y="1450714"/>
            <a:ext cx="3072829" cy="2389979"/>
          </a:xfrm>
          <a:custGeom>
            <a:avLst/>
            <a:gdLst>
              <a:gd name="connsiteX0" fmla="*/ 2182495 w 2806064"/>
              <a:gd name="connsiteY0" fmla="*/ 0 h 2182495"/>
              <a:gd name="connsiteX1" fmla="*/ 0 w 2806064"/>
              <a:gd name="connsiteY1" fmla="*/ 2182495 h 2182495"/>
              <a:gd name="connsiteX2" fmla="*/ 623570 w 2806064"/>
              <a:gd name="connsiteY2" fmla="*/ 2182495 h 2182495"/>
              <a:gd name="connsiteX3" fmla="*/ 2806065 w 2806064"/>
              <a:gd name="connsiteY3" fmla="*/ 0 h 21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064" h="2182495">
                <a:moveTo>
                  <a:pt x="2182495" y="0"/>
                </a:moveTo>
                <a:lnTo>
                  <a:pt x="0" y="2182495"/>
                </a:lnTo>
                <a:lnTo>
                  <a:pt x="623570" y="2182495"/>
                </a:lnTo>
                <a:lnTo>
                  <a:pt x="2806065" y="0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Полилиния: фигура 30">
            <a:extLst>
              <a:ext uri="{FF2B5EF4-FFF2-40B4-BE49-F238E27FC236}">
                <a16:creationId xmlns:a16="http://schemas.microsoft.com/office/drawing/2014/main" id="{7EDCF66B-6839-42A8-8548-EEB6D7A54DD9}"/>
              </a:ext>
            </a:extLst>
          </p:cNvPr>
          <p:cNvSpPr/>
          <p:nvPr/>
        </p:nvSpPr>
        <p:spPr>
          <a:xfrm>
            <a:off x="9957781" y="1606474"/>
            <a:ext cx="2234219" cy="2234219"/>
          </a:xfrm>
          <a:custGeom>
            <a:avLst/>
            <a:gdLst>
              <a:gd name="connsiteX0" fmla="*/ 2234219 w 2234219"/>
              <a:gd name="connsiteY0" fmla="*/ 0 h 2234219"/>
              <a:gd name="connsiteX1" fmla="*/ 2234219 w 2234219"/>
              <a:gd name="connsiteY1" fmla="*/ 682851 h 2234219"/>
              <a:gd name="connsiteX2" fmla="*/ 682851 w 2234219"/>
              <a:gd name="connsiteY2" fmla="*/ 2234219 h 2234219"/>
              <a:gd name="connsiteX3" fmla="*/ 0 w 2234219"/>
              <a:gd name="connsiteY3" fmla="*/ 2234219 h 223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219" h="2234219">
                <a:moveTo>
                  <a:pt x="2234219" y="0"/>
                </a:moveTo>
                <a:lnTo>
                  <a:pt x="2234219" y="682851"/>
                </a:lnTo>
                <a:lnTo>
                  <a:pt x="682851" y="2234219"/>
                </a:lnTo>
                <a:lnTo>
                  <a:pt x="0" y="2234219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Полилиния: фигура 39">
            <a:extLst>
              <a:ext uri="{FF2B5EF4-FFF2-40B4-BE49-F238E27FC236}">
                <a16:creationId xmlns:a16="http://schemas.microsoft.com/office/drawing/2014/main" id="{9E8F511C-6A5E-4D3B-B61B-7480067C96BF}"/>
              </a:ext>
            </a:extLst>
          </p:cNvPr>
          <p:cNvSpPr/>
          <p:nvPr userDrawn="1"/>
        </p:nvSpPr>
        <p:spPr>
          <a:xfrm>
            <a:off x="8985623" y="1"/>
            <a:ext cx="2133566" cy="1450715"/>
          </a:xfrm>
          <a:custGeom>
            <a:avLst/>
            <a:gdLst>
              <a:gd name="connsiteX0" fmla="*/ 1450715 w 2133566"/>
              <a:gd name="connsiteY0" fmla="*/ 0 h 1450715"/>
              <a:gd name="connsiteX1" fmla="*/ 2133566 w 2133566"/>
              <a:gd name="connsiteY1" fmla="*/ 0 h 1450715"/>
              <a:gd name="connsiteX2" fmla="*/ 682851 w 2133566"/>
              <a:gd name="connsiteY2" fmla="*/ 1450715 h 1450715"/>
              <a:gd name="connsiteX3" fmla="*/ 0 w 2133566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6" h="1450715">
                <a:moveTo>
                  <a:pt x="1450715" y="0"/>
                </a:moveTo>
                <a:lnTo>
                  <a:pt x="2133566" y="0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3" name="Полилиния: фигура 42">
            <a:extLst>
              <a:ext uri="{FF2B5EF4-FFF2-40B4-BE49-F238E27FC236}">
                <a16:creationId xmlns:a16="http://schemas.microsoft.com/office/drawing/2014/main" id="{18D1C764-45FD-4989-8FCD-7756DC96AC35}"/>
              </a:ext>
            </a:extLst>
          </p:cNvPr>
          <p:cNvSpPr/>
          <p:nvPr userDrawn="1"/>
        </p:nvSpPr>
        <p:spPr>
          <a:xfrm>
            <a:off x="7676101" y="1"/>
            <a:ext cx="2133567" cy="1450715"/>
          </a:xfrm>
          <a:custGeom>
            <a:avLst/>
            <a:gdLst>
              <a:gd name="connsiteX0" fmla="*/ 1450716 w 2133567"/>
              <a:gd name="connsiteY0" fmla="*/ 0 h 1450715"/>
              <a:gd name="connsiteX1" fmla="*/ 2133567 w 2133567"/>
              <a:gd name="connsiteY1" fmla="*/ 0 h 1450715"/>
              <a:gd name="connsiteX2" fmla="*/ 682852 w 2133567"/>
              <a:gd name="connsiteY2" fmla="*/ 1450715 h 1450715"/>
              <a:gd name="connsiteX3" fmla="*/ 0 w 2133567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7" h="1450715">
                <a:moveTo>
                  <a:pt x="1450716" y="0"/>
                </a:moveTo>
                <a:lnTo>
                  <a:pt x="2133567" y="0"/>
                </a:lnTo>
                <a:lnTo>
                  <a:pt x="682852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44" name="Рисунок 3">
            <a:extLst>
              <a:ext uri="{FF2B5EF4-FFF2-40B4-BE49-F238E27FC236}">
                <a16:creationId xmlns:a16="http://schemas.microsoft.com/office/drawing/2014/main" id="{D180CE2B-EF74-404E-AEC2-068B5121A108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chemeClr val="accent2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4C8E1AB0-DFE9-4B85-A206-432C19BB3BA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DC722773-69CD-4E93-BFEC-1B27CDCA6A7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4" name="Graphic 17">
            <a:extLst>
              <a:ext uri="{FF2B5EF4-FFF2-40B4-BE49-F238E27FC236}">
                <a16:creationId xmlns:a16="http://schemas.microsoft.com/office/drawing/2014/main" id="{59EEFF78-1504-4AE7-B6D5-04ACF1E9B391}"/>
              </a:ext>
            </a:extLst>
          </p:cNvPr>
          <p:cNvSpPr/>
          <p:nvPr/>
        </p:nvSpPr>
        <p:spPr>
          <a:xfrm>
            <a:off x="426123" y="5552208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0000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5" name="Graphic 5">
            <a:extLst>
              <a:ext uri="{FF2B5EF4-FFF2-40B4-BE49-F238E27FC236}">
                <a16:creationId xmlns:a16="http://schemas.microsoft.com/office/drawing/2014/main" id="{5514F9D7-2A08-456F-9B5F-67F89D711017}"/>
              </a:ext>
            </a:extLst>
          </p:cNvPr>
          <p:cNvGrpSpPr/>
          <p:nvPr/>
        </p:nvGrpSpPr>
        <p:grpSpPr>
          <a:xfrm>
            <a:off x="423152" y="5898188"/>
            <a:ext cx="192624" cy="192624"/>
            <a:chOff x="423152" y="5898188"/>
            <a:chExt cx="192624" cy="192624"/>
          </a:xfrm>
          <a:solidFill>
            <a:srgbClr val="FF0000"/>
          </a:solidFill>
        </p:grpSpPr>
        <p:sp>
          <p:nvSpPr>
            <p:cNvPr id="6" name="Полилиния: фигура 5">
              <a:extLst>
                <a:ext uri="{FF2B5EF4-FFF2-40B4-BE49-F238E27FC236}">
                  <a16:creationId xmlns:a16="http://schemas.microsoft.com/office/drawing/2014/main" id="{92534BBA-4A84-4D3F-AF56-65A58239D395}"/>
                </a:ext>
              </a:extLst>
            </p:cNvPr>
            <p:cNvSpPr/>
            <p:nvPr/>
          </p:nvSpPr>
          <p:spPr>
            <a:xfrm>
              <a:off x="423152" y="5898188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6D856C1F-4F92-42C6-818D-EEE7FD0BB2DA}"/>
                </a:ext>
              </a:extLst>
            </p:cNvPr>
            <p:cNvSpPr/>
            <p:nvPr/>
          </p:nvSpPr>
          <p:spPr>
            <a:xfrm>
              <a:off x="452058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: фигура 7">
              <a:extLst>
                <a:ext uri="{FF2B5EF4-FFF2-40B4-BE49-F238E27FC236}">
                  <a16:creationId xmlns:a16="http://schemas.microsoft.com/office/drawing/2014/main" id="{7FE31231-E789-403C-9695-EAA16BCA6977}"/>
                </a:ext>
              </a:extLst>
            </p:cNvPr>
            <p:cNvSpPr/>
            <p:nvPr/>
          </p:nvSpPr>
          <p:spPr>
            <a:xfrm>
              <a:off x="500201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BB6D01F6-C28C-4B9E-9D35-26DF830359F2}"/>
                </a:ext>
              </a:extLst>
            </p:cNvPr>
            <p:cNvSpPr/>
            <p:nvPr/>
          </p:nvSpPr>
          <p:spPr>
            <a:xfrm>
              <a:off x="548344" y="5975237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4174E61F-94A9-49FA-8ADF-A592EDF2D0DE}"/>
                </a:ext>
              </a:extLst>
            </p:cNvPr>
            <p:cNvSpPr/>
            <p:nvPr/>
          </p:nvSpPr>
          <p:spPr>
            <a:xfrm>
              <a:off x="452058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3E7D2FFF-8B6A-4AB9-913D-1BA7ACDA9417}"/>
                </a:ext>
              </a:extLst>
            </p:cNvPr>
            <p:cNvSpPr/>
            <p:nvPr/>
          </p:nvSpPr>
          <p:spPr>
            <a:xfrm>
              <a:off x="500201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623476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кругов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39">
            <a:extLst>
              <a:ext uri="{FF2B5EF4-FFF2-40B4-BE49-F238E27FC236}">
                <a16:creationId xmlns:a16="http://schemas.microsoft.com/office/drawing/2014/main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888508"/>
            <a:ext cx="6176427" cy="1929759"/>
          </a:xfrm>
        </p:spPr>
        <p:txBody>
          <a:bodyPr wrap="square" anchor="ctr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600" b="1">
                <a:solidFill>
                  <a:schemeClr val="accent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Спасибо</a:t>
            </a:r>
            <a:br>
              <a:rPr lang="ru-RU" dirty="0"/>
            </a:br>
            <a:r>
              <a:rPr lang="ru-RU" dirty="0"/>
              <a:t>за внимание</a:t>
            </a:r>
          </a:p>
        </p:txBody>
      </p:sp>
      <p:grpSp>
        <p:nvGrpSpPr>
          <p:cNvPr id="44" name="Рисунок 3">
            <a:extLst>
              <a:ext uri="{FF2B5EF4-FFF2-40B4-BE49-F238E27FC236}">
                <a16:creationId xmlns:a16="http://schemas.microsoft.com/office/drawing/2014/main" id="{D180CE2B-EF74-404E-AEC2-068B5121A108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chemeClr val="accent2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4C8E1AB0-DFE9-4B85-A206-432C19BB3BA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DC722773-69CD-4E93-BFEC-1B27CDCA6A7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3" name="Дуга 22">
            <a:extLst>
              <a:ext uri="{FF2B5EF4-FFF2-40B4-BE49-F238E27FC236}">
                <a16:creationId xmlns:a16="http://schemas.microsoft.com/office/drawing/2014/main" id="{4C3B535E-684D-426C-8ADE-C03140386582}"/>
              </a:ext>
            </a:extLst>
          </p:cNvPr>
          <p:cNvSpPr/>
          <p:nvPr/>
        </p:nvSpPr>
        <p:spPr bwMode="auto">
          <a:xfrm rot="3600000">
            <a:off x="10171446" y="2477067"/>
            <a:ext cx="2410528" cy="2410528"/>
          </a:xfrm>
          <a:prstGeom prst="arc">
            <a:avLst>
              <a:gd name="adj1" fmla="val 10194380"/>
              <a:gd name="adj2" fmla="val 19371489"/>
            </a:avLst>
          </a:prstGeom>
          <a:noFill/>
          <a:ln w="6127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Дуга 23">
            <a:extLst>
              <a:ext uri="{FF2B5EF4-FFF2-40B4-BE49-F238E27FC236}">
                <a16:creationId xmlns:a16="http://schemas.microsoft.com/office/drawing/2014/main" id="{10AC72FE-A8ED-47AA-A6B1-13C20BE18903}"/>
              </a:ext>
            </a:extLst>
          </p:cNvPr>
          <p:cNvSpPr/>
          <p:nvPr/>
        </p:nvSpPr>
        <p:spPr bwMode="auto">
          <a:xfrm rot="3600000">
            <a:off x="9587597" y="1884753"/>
            <a:ext cx="3604045" cy="3604045"/>
          </a:xfrm>
          <a:prstGeom prst="arc">
            <a:avLst>
              <a:gd name="adj1" fmla="val 7022578"/>
              <a:gd name="adj2" fmla="val 18021140"/>
            </a:avLst>
          </a:prstGeom>
          <a:noFill/>
          <a:ln w="61277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Дуга 25">
            <a:extLst>
              <a:ext uri="{FF2B5EF4-FFF2-40B4-BE49-F238E27FC236}">
                <a16:creationId xmlns:a16="http://schemas.microsoft.com/office/drawing/2014/main" id="{96BE5786-7306-4265-81AC-40FA7DBE2D77}"/>
              </a:ext>
            </a:extLst>
          </p:cNvPr>
          <p:cNvSpPr/>
          <p:nvPr/>
        </p:nvSpPr>
        <p:spPr bwMode="auto">
          <a:xfrm rot="3600000">
            <a:off x="8979579" y="1276735"/>
            <a:ext cx="4820082" cy="4820082"/>
          </a:xfrm>
          <a:prstGeom prst="arc">
            <a:avLst>
              <a:gd name="adj1" fmla="val 20794557"/>
              <a:gd name="adj2" fmla="val 5166418"/>
            </a:avLst>
          </a:prstGeom>
          <a:noFill/>
          <a:ln w="612775" cap="flat" cmpd="sng" algn="ctr">
            <a:gradFill>
              <a:gsLst>
                <a:gs pos="28416">
                  <a:srgbClr val="4F5657"/>
                </a:gs>
                <a:gs pos="0">
                  <a:srgbClr val="C9C8C9"/>
                </a:gs>
                <a:gs pos="83000">
                  <a:srgbClr val="D6D6D8"/>
                </a:gs>
                <a:gs pos="100000">
                  <a:srgbClr val="848A90"/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Дуга 26">
            <a:extLst>
              <a:ext uri="{FF2B5EF4-FFF2-40B4-BE49-F238E27FC236}">
                <a16:creationId xmlns:a16="http://schemas.microsoft.com/office/drawing/2014/main" id="{6BE4109A-C517-4E4F-BD7F-48E0B181EFAF}"/>
              </a:ext>
            </a:extLst>
          </p:cNvPr>
          <p:cNvSpPr/>
          <p:nvPr/>
        </p:nvSpPr>
        <p:spPr bwMode="auto">
          <a:xfrm rot="3600000">
            <a:off x="7744703" y="41859"/>
            <a:ext cx="7289835" cy="7289835"/>
          </a:xfrm>
          <a:prstGeom prst="arc">
            <a:avLst>
              <a:gd name="adj1" fmla="val 7093785"/>
              <a:gd name="adj2" fmla="val 13987603"/>
            </a:avLst>
          </a:prstGeom>
          <a:noFill/>
          <a:ln w="6127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9" name="Дуга 28">
            <a:extLst>
              <a:ext uri="{FF2B5EF4-FFF2-40B4-BE49-F238E27FC236}">
                <a16:creationId xmlns:a16="http://schemas.microsoft.com/office/drawing/2014/main" id="{740777A4-C028-41DE-B040-61B8A5E3824F}"/>
              </a:ext>
            </a:extLst>
          </p:cNvPr>
          <p:cNvSpPr/>
          <p:nvPr userDrawn="1"/>
        </p:nvSpPr>
        <p:spPr bwMode="auto">
          <a:xfrm rot="3600000">
            <a:off x="8362248" y="659404"/>
            <a:ext cx="6054745" cy="6054745"/>
          </a:xfrm>
          <a:prstGeom prst="arc">
            <a:avLst>
              <a:gd name="adj1" fmla="val 388953"/>
              <a:gd name="adj2" fmla="val 6187821"/>
            </a:avLst>
          </a:prstGeom>
          <a:noFill/>
          <a:ln w="6127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2" name="Дуга 31">
            <a:extLst>
              <a:ext uri="{FF2B5EF4-FFF2-40B4-BE49-F238E27FC236}">
                <a16:creationId xmlns:a16="http://schemas.microsoft.com/office/drawing/2014/main" id="{16FBF844-8C37-4703-8E8B-30B62A01BCCB}"/>
              </a:ext>
            </a:extLst>
          </p:cNvPr>
          <p:cNvSpPr/>
          <p:nvPr userDrawn="1"/>
        </p:nvSpPr>
        <p:spPr bwMode="auto">
          <a:xfrm rot="3600000">
            <a:off x="10785414" y="3091035"/>
            <a:ext cx="1182592" cy="1182592"/>
          </a:xfrm>
          <a:prstGeom prst="arc">
            <a:avLst>
              <a:gd name="adj1" fmla="val 15067993"/>
              <a:gd name="adj2" fmla="val 3529940"/>
            </a:avLst>
          </a:prstGeom>
          <a:noFill/>
          <a:ln w="612775" cap="flat" cmpd="sng" algn="ctr">
            <a:gradFill>
              <a:gsLst>
                <a:gs pos="28416">
                  <a:srgbClr val="4F5657"/>
                </a:gs>
                <a:gs pos="0">
                  <a:srgbClr val="C9C8C9"/>
                </a:gs>
                <a:gs pos="83000">
                  <a:srgbClr val="D6D6D8"/>
                </a:gs>
                <a:gs pos="100000">
                  <a:srgbClr val="848A90"/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lvl="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4423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ключение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39">
            <a:extLst>
              <a:ext uri="{FF2B5EF4-FFF2-40B4-BE49-F238E27FC236}">
                <a16:creationId xmlns:a16="http://schemas.microsoft.com/office/drawing/2014/main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888508"/>
            <a:ext cx="6176427" cy="1929759"/>
          </a:xfrm>
        </p:spPr>
        <p:txBody>
          <a:bodyPr wrap="square" anchor="ctr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600" b="1">
                <a:solidFill>
                  <a:schemeClr val="accent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Спасибо</a:t>
            </a:r>
            <a:br>
              <a:rPr lang="ru-RU" dirty="0"/>
            </a:br>
            <a:r>
              <a:rPr lang="ru-RU" dirty="0"/>
              <a:t>за внимание</a:t>
            </a:r>
          </a:p>
        </p:txBody>
      </p:sp>
      <p:grpSp>
        <p:nvGrpSpPr>
          <p:cNvPr id="44" name="Рисунок 3">
            <a:extLst>
              <a:ext uri="{FF2B5EF4-FFF2-40B4-BE49-F238E27FC236}">
                <a16:creationId xmlns:a16="http://schemas.microsoft.com/office/drawing/2014/main" id="{D180CE2B-EF74-404E-AEC2-068B5121A108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chemeClr val="accent2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4C8E1AB0-DFE9-4B85-A206-432C19BB3BA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DC722773-69CD-4E93-BFEC-1B27CDCA6A7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Полилиния: фигура 1">
            <a:extLst>
              <a:ext uri="{FF2B5EF4-FFF2-40B4-BE49-F238E27FC236}">
                <a16:creationId xmlns:a16="http://schemas.microsoft.com/office/drawing/2014/main" id="{DB8C6F4E-80AE-4CB3-82F3-E0629F85E98A}"/>
              </a:ext>
            </a:extLst>
          </p:cNvPr>
          <p:cNvSpPr/>
          <p:nvPr userDrawn="1"/>
        </p:nvSpPr>
        <p:spPr>
          <a:xfrm>
            <a:off x="11683685" y="942401"/>
            <a:ext cx="508315" cy="508315"/>
          </a:xfrm>
          <a:custGeom>
            <a:avLst/>
            <a:gdLst>
              <a:gd name="connsiteX0" fmla="*/ 508315 w 508315"/>
              <a:gd name="connsiteY0" fmla="*/ 0 h 508315"/>
              <a:gd name="connsiteX1" fmla="*/ 508315 w 508315"/>
              <a:gd name="connsiteY1" fmla="*/ 508315 h 508315"/>
              <a:gd name="connsiteX2" fmla="*/ 0 w 508315"/>
              <a:gd name="connsiteY2" fmla="*/ 508315 h 508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8315" h="508315">
                <a:moveTo>
                  <a:pt x="508315" y="0"/>
                </a:moveTo>
                <a:lnTo>
                  <a:pt x="508315" y="508315"/>
                </a:lnTo>
                <a:lnTo>
                  <a:pt x="0" y="5083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Полилиния: фигура 2">
            <a:extLst>
              <a:ext uri="{FF2B5EF4-FFF2-40B4-BE49-F238E27FC236}">
                <a16:creationId xmlns:a16="http://schemas.microsoft.com/office/drawing/2014/main" id="{CB3A444A-E5F0-4FFD-9DC1-CD7FB326DAB6}"/>
              </a:ext>
            </a:extLst>
          </p:cNvPr>
          <p:cNvSpPr/>
          <p:nvPr userDrawn="1"/>
        </p:nvSpPr>
        <p:spPr>
          <a:xfrm>
            <a:off x="10317983" y="1"/>
            <a:ext cx="1874017" cy="1450715"/>
          </a:xfrm>
          <a:custGeom>
            <a:avLst/>
            <a:gdLst>
              <a:gd name="connsiteX0" fmla="*/ 1450715 w 1874017"/>
              <a:gd name="connsiteY0" fmla="*/ 0 h 1450715"/>
              <a:gd name="connsiteX1" fmla="*/ 1874017 w 1874017"/>
              <a:gd name="connsiteY1" fmla="*/ 0 h 1450715"/>
              <a:gd name="connsiteX2" fmla="*/ 1874017 w 1874017"/>
              <a:gd name="connsiteY2" fmla="*/ 259549 h 1450715"/>
              <a:gd name="connsiteX3" fmla="*/ 682851 w 1874017"/>
              <a:gd name="connsiteY3" fmla="*/ 1450715 h 1450715"/>
              <a:gd name="connsiteX4" fmla="*/ 0 w 1874017"/>
              <a:gd name="connsiteY4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450715">
                <a:moveTo>
                  <a:pt x="1450715" y="0"/>
                </a:moveTo>
                <a:lnTo>
                  <a:pt x="1874017" y="0"/>
                </a:lnTo>
                <a:lnTo>
                  <a:pt x="1874017" y="259549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" name="Полилиния: фигура 3">
            <a:extLst>
              <a:ext uri="{FF2B5EF4-FFF2-40B4-BE49-F238E27FC236}">
                <a16:creationId xmlns:a16="http://schemas.microsoft.com/office/drawing/2014/main" id="{8865A60B-ACD4-45F8-AF22-1F5B2DA9790D}"/>
              </a:ext>
            </a:extLst>
          </p:cNvPr>
          <p:cNvSpPr/>
          <p:nvPr userDrawn="1"/>
        </p:nvSpPr>
        <p:spPr>
          <a:xfrm>
            <a:off x="8952280" y="3840694"/>
            <a:ext cx="2389978" cy="1707128"/>
          </a:xfrm>
          <a:custGeom>
            <a:avLst/>
            <a:gdLst>
              <a:gd name="connsiteX0" fmla="*/ 1558925 w 2182494"/>
              <a:gd name="connsiteY0" fmla="*/ 0 h 1558925"/>
              <a:gd name="connsiteX1" fmla="*/ 0 w 2182494"/>
              <a:gd name="connsiteY1" fmla="*/ 1558925 h 1558925"/>
              <a:gd name="connsiteX2" fmla="*/ 623570 w 2182494"/>
              <a:gd name="connsiteY2" fmla="*/ 1558925 h 1558925"/>
              <a:gd name="connsiteX3" fmla="*/ 2182495 w 2182494"/>
              <a:gd name="connsiteY3" fmla="*/ 0 h 155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494" h="1558925">
                <a:moveTo>
                  <a:pt x="1558925" y="0"/>
                </a:moveTo>
                <a:lnTo>
                  <a:pt x="0" y="1558925"/>
                </a:lnTo>
                <a:lnTo>
                  <a:pt x="623570" y="1558925"/>
                </a:lnTo>
                <a:lnTo>
                  <a:pt x="218249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Полилиния: фигура 4">
            <a:extLst>
              <a:ext uri="{FF2B5EF4-FFF2-40B4-BE49-F238E27FC236}">
                <a16:creationId xmlns:a16="http://schemas.microsoft.com/office/drawing/2014/main" id="{7836FD41-14BD-4C48-9332-1ED0825F86BF}"/>
              </a:ext>
            </a:extLst>
          </p:cNvPr>
          <p:cNvSpPr/>
          <p:nvPr userDrawn="1"/>
        </p:nvSpPr>
        <p:spPr>
          <a:xfrm>
            <a:off x="8604597" y="3840694"/>
            <a:ext cx="6258" cy="6259"/>
          </a:xfrm>
          <a:custGeom>
            <a:avLst/>
            <a:gdLst>
              <a:gd name="connsiteX0" fmla="*/ 0 w 5714"/>
              <a:gd name="connsiteY0" fmla="*/ 0 h 5715"/>
              <a:gd name="connsiteX1" fmla="*/ 0 w 5714"/>
              <a:gd name="connsiteY1" fmla="*/ 5715 h 5715"/>
              <a:gd name="connsiteX2" fmla="*/ 5715 w 5714"/>
              <a:gd name="connsiteY2" fmla="*/ 0 h 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4" h="5715">
                <a:moveTo>
                  <a:pt x="0" y="0"/>
                </a:moveTo>
                <a:lnTo>
                  <a:pt x="0" y="5715"/>
                </a:lnTo>
                <a:lnTo>
                  <a:pt x="571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олилиния: фигура 5">
            <a:extLst>
              <a:ext uri="{FF2B5EF4-FFF2-40B4-BE49-F238E27FC236}">
                <a16:creationId xmlns:a16="http://schemas.microsoft.com/office/drawing/2014/main" id="{18EA802B-A64D-4D87-B785-A9C1BBD630BE}"/>
              </a:ext>
            </a:extLst>
          </p:cNvPr>
          <p:cNvSpPr/>
          <p:nvPr userDrawn="1"/>
        </p:nvSpPr>
        <p:spPr>
          <a:xfrm>
            <a:off x="10317983" y="3840694"/>
            <a:ext cx="1874017" cy="1707128"/>
          </a:xfrm>
          <a:custGeom>
            <a:avLst/>
            <a:gdLst>
              <a:gd name="connsiteX0" fmla="*/ 1707128 w 1874017"/>
              <a:gd name="connsiteY0" fmla="*/ 0 h 1707128"/>
              <a:gd name="connsiteX1" fmla="*/ 1874017 w 1874017"/>
              <a:gd name="connsiteY1" fmla="*/ 0 h 1707128"/>
              <a:gd name="connsiteX2" fmla="*/ 1874017 w 1874017"/>
              <a:gd name="connsiteY2" fmla="*/ 515477 h 1707128"/>
              <a:gd name="connsiteX3" fmla="*/ 682851 w 1874017"/>
              <a:gd name="connsiteY3" fmla="*/ 1707128 h 1707128"/>
              <a:gd name="connsiteX4" fmla="*/ 0 w 1874017"/>
              <a:gd name="connsiteY4" fmla="*/ 1707128 h 17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707128">
                <a:moveTo>
                  <a:pt x="1707128" y="0"/>
                </a:moveTo>
                <a:lnTo>
                  <a:pt x="1874017" y="0"/>
                </a:lnTo>
                <a:lnTo>
                  <a:pt x="1874017" y="515477"/>
                </a:lnTo>
                <a:lnTo>
                  <a:pt x="682851" y="1707128"/>
                </a:lnTo>
                <a:lnTo>
                  <a:pt x="0" y="1707128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олилиния: фигура 6">
            <a:extLst>
              <a:ext uri="{FF2B5EF4-FFF2-40B4-BE49-F238E27FC236}">
                <a16:creationId xmlns:a16="http://schemas.microsoft.com/office/drawing/2014/main" id="{8565576C-67AB-4679-AB14-104440A43FD3}"/>
              </a:ext>
            </a:extLst>
          </p:cNvPr>
          <p:cNvSpPr/>
          <p:nvPr userDrawn="1"/>
        </p:nvSpPr>
        <p:spPr>
          <a:xfrm>
            <a:off x="11342259" y="2990705"/>
            <a:ext cx="849741" cy="849988"/>
          </a:xfrm>
          <a:custGeom>
            <a:avLst/>
            <a:gdLst>
              <a:gd name="connsiteX0" fmla="*/ 849741 w 849741"/>
              <a:gd name="connsiteY0" fmla="*/ 0 h 849988"/>
              <a:gd name="connsiteX1" fmla="*/ 849741 w 849741"/>
              <a:gd name="connsiteY1" fmla="*/ 683050 h 849988"/>
              <a:gd name="connsiteX2" fmla="*/ 682851 w 849741"/>
              <a:gd name="connsiteY2" fmla="*/ 849988 h 849988"/>
              <a:gd name="connsiteX3" fmla="*/ 0 w 849741"/>
              <a:gd name="connsiteY3" fmla="*/ 849988 h 84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741" h="849988">
                <a:moveTo>
                  <a:pt x="849741" y="0"/>
                </a:moveTo>
                <a:lnTo>
                  <a:pt x="849741" y="683050"/>
                </a:lnTo>
                <a:lnTo>
                  <a:pt x="682851" y="849988"/>
                </a:lnTo>
                <a:lnTo>
                  <a:pt x="0" y="849988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DF96CDC5-1835-4B1A-B51F-B61DD3293AA9}"/>
              </a:ext>
            </a:extLst>
          </p:cNvPr>
          <p:cNvSpPr/>
          <p:nvPr userDrawn="1"/>
        </p:nvSpPr>
        <p:spPr>
          <a:xfrm>
            <a:off x="8610856" y="1450714"/>
            <a:ext cx="3072829" cy="2389979"/>
          </a:xfrm>
          <a:custGeom>
            <a:avLst/>
            <a:gdLst>
              <a:gd name="connsiteX0" fmla="*/ 2182495 w 2806064"/>
              <a:gd name="connsiteY0" fmla="*/ 0 h 2182495"/>
              <a:gd name="connsiteX1" fmla="*/ 0 w 2806064"/>
              <a:gd name="connsiteY1" fmla="*/ 2182495 h 2182495"/>
              <a:gd name="connsiteX2" fmla="*/ 623570 w 2806064"/>
              <a:gd name="connsiteY2" fmla="*/ 2182495 h 2182495"/>
              <a:gd name="connsiteX3" fmla="*/ 2806065 w 2806064"/>
              <a:gd name="connsiteY3" fmla="*/ 0 h 21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064" h="2182495">
                <a:moveTo>
                  <a:pt x="2182495" y="0"/>
                </a:moveTo>
                <a:lnTo>
                  <a:pt x="0" y="2182495"/>
                </a:lnTo>
                <a:lnTo>
                  <a:pt x="623570" y="2182495"/>
                </a:lnTo>
                <a:lnTo>
                  <a:pt x="2806065" y="0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A9776F79-468B-44C6-8B11-6209C717CA67}"/>
              </a:ext>
            </a:extLst>
          </p:cNvPr>
          <p:cNvSpPr/>
          <p:nvPr userDrawn="1"/>
        </p:nvSpPr>
        <p:spPr>
          <a:xfrm>
            <a:off x="9957781" y="1606474"/>
            <a:ext cx="2234219" cy="2234219"/>
          </a:xfrm>
          <a:custGeom>
            <a:avLst/>
            <a:gdLst>
              <a:gd name="connsiteX0" fmla="*/ 2234219 w 2234219"/>
              <a:gd name="connsiteY0" fmla="*/ 0 h 2234219"/>
              <a:gd name="connsiteX1" fmla="*/ 2234219 w 2234219"/>
              <a:gd name="connsiteY1" fmla="*/ 682851 h 2234219"/>
              <a:gd name="connsiteX2" fmla="*/ 682851 w 2234219"/>
              <a:gd name="connsiteY2" fmla="*/ 2234219 h 2234219"/>
              <a:gd name="connsiteX3" fmla="*/ 0 w 2234219"/>
              <a:gd name="connsiteY3" fmla="*/ 2234219 h 223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219" h="2234219">
                <a:moveTo>
                  <a:pt x="2234219" y="0"/>
                </a:moveTo>
                <a:lnTo>
                  <a:pt x="2234219" y="682851"/>
                </a:lnTo>
                <a:lnTo>
                  <a:pt x="682851" y="2234219"/>
                </a:lnTo>
                <a:lnTo>
                  <a:pt x="0" y="2234219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7C1924A7-5BBA-4DD5-9D00-1D7C79A565F0}"/>
              </a:ext>
            </a:extLst>
          </p:cNvPr>
          <p:cNvSpPr/>
          <p:nvPr userDrawn="1"/>
        </p:nvSpPr>
        <p:spPr>
          <a:xfrm>
            <a:off x="8985623" y="1"/>
            <a:ext cx="2133566" cy="1450715"/>
          </a:xfrm>
          <a:custGeom>
            <a:avLst/>
            <a:gdLst>
              <a:gd name="connsiteX0" fmla="*/ 1450715 w 2133566"/>
              <a:gd name="connsiteY0" fmla="*/ 0 h 1450715"/>
              <a:gd name="connsiteX1" fmla="*/ 2133566 w 2133566"/>
              <a:gd name="connsiteY1" fmla="*/ 0 h 1450715"/>
              <a:gd name="connsiteX2" fmla="*/ 682851 w 2133566"/>
              <a:gd name="connsiteY2" fmla="*/ 1450715 h 1450715"/>
              <a:gd name="connsiteX3" fmla="*/ 0 w 2133566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6" h="1450715">
                <a:moveTo>
                  <a:pt x="1450715" y="0"/>
                </a:moveTo>
                <a:lnTo>
                  <a:pt x="2133566" y="0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3" name="Полилиния: фигура 12">
            <a:extLst>
              <a:ext uri="{FF2B5EF4-FFF2-40B4-BE49-F238E27FC236}">
                <a16:creationId xmlns:a16="http://schemas.microsoft.com/office/drawing/2014/main" id="{44E97757-9271-4211-9749-1E9D34CAD44F}"/>
              </a:ext>
            </a:extLst>
          </p:cNvPr>
          <p:cNvSpPr/>
          <p:nvPr userDrawn="1"/>
        </p:nvSpPr>
        <p:spPr>
          <a:xfrm>
            <a:off x="7676101" y="1"/>
            <a:ext cx="2133567" cy="1450715"/>
          </a:xfrm>
          <a:custGeom>
            <a:avLst/>
            <a:gdLst>
              <a:gd name="connsiteX0" fmla="*/ 1450716 w 2133567"/>
              <a:gd name="connsiteY0" fmla="*/ 0 h 1450715"/>
              <a:gd name="connsiteX1" fmla="*/ 2133567 w 2133567"/>
              <a:gd name="connsiteY1" fmla="*/ 0 h 1450715"/>
              <a:gd name="connsiteX2" fmla="*/ 682852 w 2133567"/>
              <a:gd name="connsiteY2" fmla="*/ 1450715 h 1450715"/>
              <a:gd name="connsiteX3" fmla="*/ 0 w 2133567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7" h="1450715">
                <a:moveTo>
                  <a:pt x="1450716" y="0"/>
                </a:moveTo>
                <a:lnTo>
                  <a:pt x="2133567" y="0"/>
                </a:lnTo>
                <a:lnTo>
                  <a:pt x="682852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42378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диагональной суперграфикой синий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Рисунок 3">
            <a:extLst>
              <a:ext uri="{FF2B5EF4-FFF2-40B4-BE49-F238E27FC236}">
                <a16:creationId xmlns:a16="http://schemas.microsoft.com/office/drawing/2014/main" id="{3AF7360D-0ACE-49A4-BFCB-664580DCE466}"/>
              </a:ext>
            </a:extLst>
          </p:cNvPr>
          <p:cNvGrpSpPr/>
          <p:nvPr userDrawn="1"/>
        </p:nvGrpSpPr>
        <p:grpSpPr>
          <a:xfrm>
            <a:off x="403201" y="647761"/>
            <a:ext cx="3352539" cy="1044171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3" name="Полилиния: фигура 2">
              <a:extLst>
                <a:ext uri="{FF2B5EF4-FFF2-40B4-BE49-F238E27FC236}">
                  <a16:creationId xmlns:a16="http://schemas.microsoft.com/office/drawing/2014/main" id="{F6481FE0-98D1-47DB-A94C-AC28AB728833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" name="Полилиния: фигура 3">
              <a:extLst>
                <a:ext uri="{FF2B5EF4-FFF2-40B4-BE49-F238E27FC236}">
                  <a16:creationId xmlns:a16="http://schemas.microsoft.com/office/drawing/2014/main" id="{B11FC44A-196E-443A-B14F-64CB50F4802A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8F4C8739-0D64-4D24-9292-4DA86A346971}"/>
              </a:ext>
            </a:extLst>
          </p:cNvPr>
          <p:cNvGrpSpPr/>
          <p:nvPr userDrawn="1"/>
        </p:nvGrpSpPr>
        <p:grpSpPr>
          <a:xfrm>
            <a:off x="7717485" y="-1409700"/>
            <a:ext cx="7898715" cy="8267700"/>
            <a:chOff x="7717485" y="-1409700"/>
            <a:chExt cx="7898715" cy="8267700"/>
          </a:xfrm>
        </p:grpSpPr>
        <p:sp>
          <p:nvSpPr>
            <p:cNvPr id="6" name="Полилиния: фигура 5">
              <a:extLst>
                <a:ext uri="{FF2B5EF4-FFF2-40B4-BE49-F238E27FC236}">
                  <a16:creationId xmlns:a16="http://schemas.microsoft.com/office/drawing/2014/main" id="{0A7705CA-8C8A-4C11-8D88-32DCA6E8700D}"/>
                </a:ext>
              </a:extLst>
            </p:cNvPr>
            <p:cNvSpPr/>
            <p:nvPr/>
          </p:nvSpPr>
          <p:spPr>
            <a:xfrm>
              <a:off x="11107241" y="-1409700"/>
              <a:ext cx="4508959" cy="3757209"/>
            </a:xfrm>
            <a:custGeom>
              <a:avLst/>
              <a:gdLst>
                <a:gd name="connsiteX0" fmla="*/ 3116580 w 3740150"/>
                <a:gd name="connsiteY0" fmla="*/ 0 h 3116579"/>
                <a:gd name="connsiteX1" fmla="*/ 0 w 3740150"/>
                <a:gd name="connsiteY1" fmla="*/ 3116580 h 3116579"/>
                <a:gd name="connsiteX2" fmla="*/ 623570 w 3740150"/>
                <a:gd name="connsiteY2" fmla="*/ 3116580 h 3116579"/>
                <a:gd name="connsiteX3" fmla="*/ 3740150 w 3740150"/>
                <a:gd name="connsiteY3" fmla="*/ 0 h 3116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40150" h="3116579">
                  <a:moveTo>
                    <a:pt x="3116580" y="0"/>
                  </a:moveTo>
                  <a:lnTo>
                    <a:pt x="0" y="3116580"/>
                  </a:lnTo>
                  <a:lnTo>
                    <a:pt x="623570" y="3116580"/>
                  </a:lnTo>
                  <a:lnTo>
                    <a:pt x="3740150" y="0"/>
                  </a:lnTo>
                  <a:close/>
                </a:path>
              </a:pathLst>
            </a:custGeom>
            <a:solidFill>
              <a:srgbClr val="002F6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E9EB22CF-CA57-4EC6-9C31-3BC2BD0507AD}"/>
                </a:ext>
              </a:extLst>
            </p:cNvPr>
            <p:cNvSpPr/>
            <p:nvPr/>
          </p:nvSpPr>
          <p:spPr>
            <a:xfrm>
              <a:off x="9603745" y="-1409700"/>
              <a:ext cx="4508959" cy="3757209"/>
            </a:xfrm>
            <a:custGeom>
              <a:avLst/>
              <a:gdLst>
                <a:gd name="connsiteX0" fmla="*/ 3116580 w 3740150"/>
                <a:gd name="connsiteY0" fmla="*/ 0 h 3116579"/>
                <a:gd name="connsiteX1" fmla="*/ 0 w 3740150"/>
                <a:gd name="connsiteY1" fmla="*/ 3116580 h 3116579"/>
                <a:gd name="connsiteX2" fmla="*/ 623570 w 3740150"/>
                <a:gd name="connsiteY2" fmla="*/ 3116580 h 3116579"/>
                <a:gd name="connsiteX3" fmla="*/ 3740150 w 3740150"/>
                <a:gd name="connsiteY3" fmla="*/ 0 h 3116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40150" h="3116579">
                  <a:moveTo>
                    <a:pt x="3116580" y="0"/>
                  </a:moveTo>
                  <a:lnTo>
                    <a:pt x="0" y="3116580"/>
                  </a:lnTo>
                  <a:lnTo>
                    <a:pt x="623570" y="3116580"/>
                  </a:lnTo>
                  <a:lnTo>
                    <a:pt x="3740150" y="0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18900000" scaled="1"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Полилиния: фигура 7">
              <a:extLst>
                <a:ext uri="{FF2B5EF4-FFF2-40B4-BE49-F238E27FC236}">
                  <a16:creationId xmlns:a16="http://schemas.microsoft.com/office/drawing/2014/main" id="{EE2853F8-94FB-4300-90C2-C82956DE92A4}"/>
                </a:ext>
              </a:extLst>
            </p:cNvPr>
            <p:cNvSpPr/>
            <p:nvPr/>
          </p:nvSpPr>
          <p:spPr>
            <a:xfrm>
              <a:off x="8100248" y="4978629"/>
              <a:ext cx="2631118" cy="1879371"/>
            </a:xfrm>
            <a:custGeom>
              <a:avLst/>
              <a:gdLst>
                <a:gd name="connsiteX0" fmla="*/ 1558925 w 2182494"/>
                <a:gd name="connsiteY0" fmla="*/ 0 h 1558925"/>
                <a:gd name="connsiteX1" fmla="*/ 0 w 2182494"/>
                <a:gd name="connsiteY1" fmla="*/ 1558925 h 1558925"/>
                <a:gd name="connsiteX2" fmla="*/ 623570 w 2182494"/>
                <a:gd name="connsiteY2" fmla="*/ 1558925 h 1558925"/>
                <a:gd name="connsiteX3" fmla="*/ 2182495 w 2182494"/>
                <a:gd name="connsiteY3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494" h="1558925">
                  <a:moveTo>
                    <a:pt x="1558925" y="0"/>
                  </a:moveTo>
                  <a:lnTo>
                    <a:pt x="0" y="1558925"/>
                  </a:lnTo>
                  <a:lnTo>
                    <a:pt x="623570" y="1558925"/>
                  </a:lnTo>
                  <a:lnTo>
                    <a:pt x="218249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D62CB5CA-EAF9-446B-8EC4-BE78F12F17F1}"/>
                </a:ext>
              </a:extLst>
            </p:cNvPr>
            <p:cNvSpPr/>
            <p:nvPr/>
          </p:nvSpPr>
          <p:spPr>
            <a:xfrm>
              <a:off x="7717485" y="4978629"/>
              <a:ext cx="6889" cy="6890"/>
            </a:xfrm>
            <a:custGeom>
              <a:avLst/>
              <a:gdLst>
                <a:gd name="connsiteX0" fmla="*/ 0 w 5714"/>
                <a:gd name="connsiteY0" fmla="*/ 0 h 5715"/>
                <a:gd name="connsiteX1" fmla="*/ 0 w 5714"/>
                <a:gd name="connsiteY1" fmla="*/ 5715 h 5715"/>
                <a:gd name="connsiteX2" fmla="*/ 5715 w 5714"/>
                <a:gd name="connsiteY2" fmla="*/ 0 h 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4" h="5715">
                  <a:moveTo>
                    <a:pt x="0" y="0"/>
                  </a:moveTo>
                  <a:lnTo>
                    <a:pt x="0" y="5715"/>
                  </a:lnTo>
                  <a:lnTo>
                    <a:pt x="5715" y="0"/>
                  </a:lnTo>
                  <a:close/>
                </a:path>
              </a:pathLst>
            </a:custGeom>
            <a:solidFill>
              <a:srgbClr val="002F6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C00CA567-3944-4ABA-A6C7-2FB6947F548D}"/>
                </a:ext>
              </a:extLst>
            </p:cNvPr>
            <p:cNvSpPr/>
            <p:nvPr/>
          </p:nvSpPr>
          <p:spPr>
            <a:xfrm>
              <a:off x="9603745" y="4978629"/>
              <a:ext cx="2630352" cy="1879371"/>
            </a:xfrm>
            <a:custGeom>
              <a:avLst/>
              <a:gdLst>
                <a:gd name="connsiteX0" fmla="*/ 1558925 w 2181859"/>
                <a:gd name="connsiteY0" fmla="*/ 0 h 1558925"/>
                <a:gd name="connsiteX1" fmla="*/ 0 w 2181859"/>
                <a:gd name="connsiteY1" fmla="*/ 1558925 h 1558925"/>
                <a:gd name="connsiteX2" fmla="*/ 623570 w 2181859"/>
                <a:gd name="connsiteY2" fmla="*/ 1558925 h 1558925"/>
                <a:gd name="connsiteX3" fmla="*/ 2181860 w 2181859"/>
                <a:gd name="connsiteY3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1859" h="1558925">
                  <a:moveTo>
                    <a:pt x="1558925" y="0"/>
                  </a:moveTo>
                  <a:lnTo>
                    <a:pt x="0" y="1558925"/>
                  </a:lnTo>
                  <a:lnTo>
                    <a:pt x="623570" y="1558925"/>
                  </a:lnTo>
                  <a:lnTo>
                    <a:pt x="218186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C7981DD3-0670-4919-B3C1-523E67D2ED97}"/>
                </a:ext>
              </a:extLst>
            </p:cNvPr>
            <p:cNvSpPr/>
            <p:nvPr/>
          </p:nvSpPr>
          <p:spPr>
            <a:xfrm>
              <a:off x="10731367" y="2347509"/>
              <a:ext cx="3382101" cy="2631119"/>
            </a:xfrm>
            <a:custGeom>
              <a:avLst/>
              <a:gdLst>
                <a:gd name="connsiteX0" fmla="*/ 2181860 w 2805429"/>
                <a:gd name="connsiteY0" fmla="*/ 0 h 2182495"/>
                <a:gd name="connsiteX1" fmla="*/ 0 w 2805429"/>
                <a:gd name="connsiteY1" fmla="*/ 2182495 h 2182495"/>
                <a:gd name="connsiteX2" fmla="*/ 623570 w 2805429"/>
                <a:gd name="connsiteY2" fmla="*/ 2182495 h 2182495"/>
                <a:gd name="connsiteX3" fmla="*/ 2805430 w 2805429"/>
                <a:gd name="connsiteY3" fmla="*/ 0 h 218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5429" h="2182495">
                  <a:moveTo>
                    <a:pt x="2181860" y="0"/>
                  </a:moveTo>
                  <a:lnTo>
                    <a:pt x="0" y="2182495"/>
                  </a:lnTo>
                  <a:lnTo>
                    <a:pt x="623570" y="2182495"/>
                  </a:lnTo>
                  <a:lnTo>
                    <a:pt x="2805430" y="0"/>
                  </a:lnTo>
                  <a:close/>
                </a:path>
              </a:pathLst>
            </a:custGeom>
            <a:solidFill>
              <a:srgbClr val="E5242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50B0CEB-6342-4EE6-B2EB-1DDDC71FC0D5}"/>
                </a:ext>
              </a:extLst>
            </p:cNvPr>
            <p:cNvSpPr/>
            <p:nvPr/>
          </p:nvSpPr>
          <p:spPr>
            <a:xfrm>
              <a:off x="7724375" y="2347509"/>
              <a:ext cx="3382866" cy="2631119"/>
            </a:xfrm>
            <a:custGeom>
              <a:avLst/>
              <a:gdLst>
                <a:gd name="connsiteX0" fmla="*/ 2182495 w 2806064"/>
                <a:gd name="connsiteY0" fmla="*/ 0 h 2182495"/>
                <a:gd name="connsiteX1" fmla="*/ 0 w 2806064"/>
                <a:gd name="connsiteY1" fmla="*/ 2182495 h 2182495"/>
                <a:gd name="connsiteX2" fmla="*/ 623570 w 2806064"/>
                <a:gd name="connsiteY2" fmla="*/ 2182495 h 2182495"/>
                <a:gd name="connsiteX3" fmla="*/ 2806065 w 2806064"/>
                <a:gd name="connsiteY3" fmla="*/ 0 h 218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6064" h="2182495">
                  <a:moveTo>
                    <a:pt x="2182495" y="0"/>
                  </a:moveTo>
                  <a:lnTo>
                    <a:pt x="0" y="2182495"/>
                  </a:lnTo>
                  <a:lnTo>
                    <a:pt x="623570" y="2182495"/>
                  </a:lnTo>
                  <a:lnTo>
                    <a:pt x="280606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3199B1E9-72E3-4CB4-9688-694170FD6D49}"/>
                </a:ext>
              </a:extLst>
            </p:cNvPr>
            <p:cNvSpPr/>
            <p:nvPr/>
          </p:nvSpPr>
          <p:spPr>
            <a:xfrm>
              <a:off x="9207200" y="2347509"/>
              <a:ext cx="3382866" cy="2631119"/>
            </a:xfrm>
            <a:custGeom>
              <a:avLst/>
              <a:gdLst>
                <a:gd name="connsiteX0" fmla="*/ 2182495 w 2806064"/>
                <a:gd name="connsiteY0" fmla="*/ 0 h 2182495"/>
                <a:gd name="connsiteX1" fmla="*/ 0 w 2806064"/>
                <a:gd name="connsiteY1" fmla="*/ 2182495 h 2182495"/>
                <a:gd name="connsiteX2" fmla="*/ 623570 w 2806064"/>
                <a:gd name="connsiteY2" fmla="*/ 2182495 h 2182495"/>
                <a:gd name="connsiteX3" fmla="*/ 2806065 w 2806064"/>
                <a:gd name="connsiteY3" fmla="*/ 0 h 218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6064" h="2182495">
                  <a:moveTo>
                    <a:pt x="2182495" y="0"/>
                  </a:moveTo>
                  <a:lnTo>
                    <a:pt x="0" y="2182495"/>
                  </a:lnTo>
                  <a:lnTo>
                    <a:pt x="623570" y="2182495"/>
                  </a:lnTo>
                  <a:lnTo>
                    <a:pt x="2806065" y="0"/>
                  </a:lnTo>
                  <a:close/>
                </a:path>
              </a:pathLst>
            </a:custGeom>
            <a:solidFill>
              <a:srgbClr val="E5242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5" name="Текст 39">
            <a:extLst>
              <a:ext uri="{FF2B5EF4-FFF2-40B4-BE49-F238E27FC236}">
                <a16:creationId xmlns:a16="http://schemas.microsoft.com/office/drawing/2014/main" id="{5336473E-1F7B-4377-9140-DA33EAA38F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894454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29" name="Текст 26">
            <a:extLst>
              <a:ext uri="{FF2B5EF4-FFF2-40B4-BE49-F238E27FC236}">
                <a16:creationId xmlns:a16="http://schemas.microsoft.com/office/drawing/2014/main" id="{D2D5BB33-210A-470A-ADA0-7318E72A22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454464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30" name="Текст 26">
            <a:extLst>
              <a:ext uri="{FF2B5EF4-FFF2-40B4-BE49-F238E27FC236}">
                <a16:creationId xmlns:a16="http://schemas.microsoft.com/office/drawing/2014/main" id="{7D796F81-C010-4486-8C13-2B64B67C08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488435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16" name="Graphic 17">
            <a:extLst>
              <a:ext uri="{FF2B5EF4-FFF2-40B4-BE49-F238E27FC236}">
                <a16:creationId xmlns:a16="http://schemas.microsoft.com/office/drawing/2014/main" id="{67E33C7A-8A8F-4E25-8819-7C6CF003FD43}"/>
              </a:ext>
            </a:extLst>
          </p:cNvPr>
          <p:cNvSpPr/>
          <p:nvPr/>
        </p:nvSpPr>
        <p:spPr>
          <a:xfrm>
            <a:off x="426123" y="4553400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7" name="Graphic 5">
            <a:extLst>
              <a:ext uri="{FF2B5EF4-FFF2-40B4-BE49-F238E27FC236}">
                <a16:creationId xmlns:a16="http://schemas.microsoft.com/office/drawing/2014/main" id="{C9A8D45A-D37B-427B-97A6-183FFB1D0441}"/>
              </a:ext>
            </a:extLst>
          </p:cNvPr>
          <p:cNvGrpSpPr/>
          <p:nvPr/>
        </p:nvGrpSpPr>
        <p:grpSpPr>
          <a:xfrm>
            <a:off x="423152" y="4887836"/>
            <a:ext cx="192624" cy="192624"/>
            <a:chOff x="423152" y="4887836"/>
            <a:chExt cx="192624" cy="192624"/>
          </a:xfrm>
          <a:solidFill>
            <a:srgbClr val="FFFFFF"/>
          </a:solidFill>
        </p:grpSpPr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8E031E6C-12E6-45FA-BDE0-D6839526AF2F}"/>
                </a:ext>
              </a:extLst>
            </p:cNvPr>
            <p:cNvSpPr/>
            <p:nvPr/>
          </p:nvSpPr>
          <p:spPr>
            <a:xfrm>
              <a:off x="423152" y="4887836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9B0ECB36-E663-4C7D-955E-7F36BA6A9466}"/>
                </a:ext>
              </a:extLst>
            </p:cNvPr>
            <p:cNvSpPr/>
            <p:nvPr/>
          </p:nvSpPr>
          <p:spPr>
            <a:xfrm>
              <a:off x="452058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A236534E-4284-4B52-9411-765C71112A20}"/>
                </a:ext>
              </a:extLst>
            </p:cNvPr>
            <p:cNvSpPr/>
            <p:nvPr/>
          </p:nvSpPr>
          <p:spPr>
            <a:xfrm>
              <a:off x="500201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id="{EDC830DE-9C9F-4DA6-B305-ABB92B679232}"/>
                </a:ext>
              </a:extLst>
            </p:cNvPr>
            <p:cNvSpPr/>
            <p:nvPr/>
          </p:nvSpPr>
          <p:spPr>
            <a:xfrm>
              <a:off x="548344" y="4964885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D2B539FE-4D14-41C5-AA98-69B20130DC16}"/>
                </a:ext>
              </a:extLst>
            </p:cNvPr>
            <p:cNvSpPr/>
            <p:nvPr/>
          </p:nvSpPr>
          <p:spPr>
            <a:xfrm>
              <a:off x="452058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B8FC65B9-23ED-4CAB-8671-D246BD6E31F7}"/>
                </a:ext>
              </a:extLst>
            </p:cNvPr>
            <p:cNvSpPr/>
            <p:nvPr/>
          </p:nvSpPr>
          <p:spPr>
            <a:xfrm>
              <a:off x="500201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5080285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иний титул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Рисунок 3">
            <a:extLst>
              <a:ext uri="{FF2B5EF4-FFF2-40B4-BE49-F238E27FC236}">
                <a16:creationId xmlns:a16="http://schemas.microsoft.com/office/drawing/2014/main" id="{3AF7360D-0ACE-49A4-BFCB-664580DCE466}"/>
              </a:ext>
            </a:extLst>
          </p:cNvPr>
          <p:cNvGrpSpPr/>
          <p:nvPr userDrawn="1"/>
        </p:nvGrpSpPr>
        <p:grpSpPr>
          <a:xfrm>
            <a:off x="403201" y="647761"/>
            <a:ext cx="3352539" cy="1044171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3" name="Полилиния: фигура 2">
              <a:extLst>
                <a:ext uri="{FF2B5EF4-FFF2-40B4-BE49-F238E27FC236}">
                  <a16:creationId xmlns:a16="http://schemas.microsoft.com/office/drawing/2014/main" id="{F6481FE0-98D1-47DB-A94C-AC28AB728833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" name="Полилиния: фигура 3">
              <a:extLst>
                <a:ext uri="{FF2B5EF4-FFF2-40B4-BE49-F238E27FC236}">
                  <a16:creationId xmlns:a16="http://schemas.microsoft.com/office/drawing/2014/main" id="{B11FC44A-196E-443A-B14F-64CB50F4802A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5" name="Текст 39">
            <a:extLst>
              <a:ext uri="{FF2B5EF4-FFF2-40B4-BE49-F238E27FC236}">
                <a16:creationId xmlns:a16="http://schemas.microsoft.com/office/drawing/2014/main" id="{5336473E-1F7B-4377-9140-DA33EAA38F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894454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29" name="Текст 26">
            <a:extLst>
              <a:ext uri="{FF2B5EF4-FFF2-40B4-BE49-F238E27FC236}">
                <a16:creationId xmlns:a16="http://schemas.microsoft.com/office/drawing/2014/main" id="{D2D5BB33-210A-470A-ADA0-7318E72A22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4544645"/>
            <a:ext cx="2574925" cy="204671"/>
          </a:xfrm>
        </p:spPr>
        <p:txBody>
          <a:bodyPr anchor="ctr">
            <a:spAutoFit/>
          </a:bodyPr>
          <a:lstStyle>
            <a:lvl1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30" name="Текст 26">
            <a:extLst>
              <a:ext uri="{FF2B5EF4-FFF2-40B4-BE49-F238E27FC236}">
                <a16:creationId xmlns:a16="http://schemas.microsoft.com/office/drawing/2014/main" id="{7D796F81-C010-4486-8C13-2B64B67C08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4884353"/>
            <a:ext cx="2574925" cy="204671"/>
          </a:xfrm>
        </p:spPr>
        <p:txBody>
          <a:bodyPr anchor="ctr">
            <a:spAutoFit/>
          </a:bodyPr>
          <a:lstStyle>
            <a:lvl1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7" name="Graphic 17">
            <a:extLst>
              <a:ext uri="{FF2B5EF4-FFF2-40B4-BE49-F238E27FC236}">
                <a16:creationId xmlns:a16="http://schemas.microsoft.com/office/drawing/2014/main" id="{C3B7CBEA-8AD0-441A-A1D4-0F139AA06B72}"/>
              </a:ext>
            </a:extLst>
          </p:cNvPr>
          <p:cNvSpPr/>
          <p:nvPr/>
        </p:nvSpPr>
        <p:spPr>
          <a:xfrm>
            <a:off x="426123" y="4553400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8" name="Graphic 5">
            <a:extLst>
              <a:ext uri="{FF2B5EF4-FFF2-40B4-BE49-F238E27FC236}">
                <a16:creationId xmlns:a16="http://schemas.microsoft.com/office/drawing/2014/main" id="{0ED128A5-3EB3-44B8-9514-60A5376432F9}"/>
              </a:ext>
            </a:extLst>
          </p:cNvPr>
          <p:cNvGrpSpPr/>
          <p:nvPr/>
        </p:nvGrpSpPr>
        <p:grpSpPr>
          <a:xfrm>
            <a:off x="423152" y="4887836"/>
            <a:ext cx="192624" cy="192624"/>
            <a:chOff x="423152" y="4887836"/>
            <a:chExt cx="192624" cy="192624"/>
          </a:xfrm>
          <a:solidFill>
            <a:srgbClr val="FFFFFF"/>
          </a:solidFill>
        </p:grpSpPr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44C7458C-BC06-4494-B0B1-ED17D4216707}"/>
                </a:ext>
              </a:extLst>
            </p:cNvPr>
            <p:cNvSpPr/>
            <p:nvPr/>
          </p:nvSpPr>
          <p:spPr>
            <a:xfrm>
              <a:off x="423152" y="4887836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B0A125BB-D6AD-40EB-AF08-A420D4A06CA2}"/>
                </a:ext>
              </a:extLst>
            </p:cNvPr>
            <p:cNvSpPr/>
            <p:nvPr/>
          </p:nvSpPr>
          <p:spPr>
            <a:xfrm>
              <a:off x="452058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FE010376-EF61-40DD-9CC0-A54051ADCD08}"/>
                </a:ext>
              </a:extLst>
            </p:cNvPr>
            <p:cNvSpPr/>
            <p:nvPr/>
          </p:nvSpPr>
          <p:spPr>
            <a:xfrm>
              <a:off x="500201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4D0A3AB1-ACF0-4986-A1E6-6187A094D6AF}"/>
                </a:ext>
              </a:extLst>
            </p:cNvPr>
            <p:cNvSpPr/>
            <p:nvPr/>
          </p:nvSpPr>
          <p:spPr>
            <a:xfrm>
              <a:off x="548344" y="4964885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DD255570-96B8-48CC-B29C-749451787D24}"/>
                </a:ext>
              </a:extLst>
            </p:cNvPr>
            <p:cNvSpPr/>
            <p:nvPr/>
          </p:nvSpPr>
          <p:spPr>
            <a:xfrm>
              <a:off x="452058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94F19008-463B-4253-9647-BF159CAD5573}"/>
                </a:ext>
              </a:extLst>
            </p:cNvPr>
            <p:cNvSpPr/>
            <p:nvPr/>
          </p:nvSpPr>
          <p:spPr>
            <a:xfrm>
              <a:off x="500201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3320003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27657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иний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53292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Диагональный паттерн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4CE0A532-2796-40D5-A00D-592B82F1A2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0"/>
            <a:ext cx="12190476" cy="6858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769D422-068F-4038-B61F-055EE178BF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5875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A3E83BB-44FD-43C3-B5FD-B2DC1C2D4985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12" name="Полилиния: фигура 111">
            <a:extLst>
              <a:ext uri="{FF2B5EF4-FFF2-40B4-BE49-F238E27FC236}">
                <a16:creationId xmlns:a16="http://schemas.microsoft.com/office/drawing/2014/main" id="{1C442878-F4C2-4530-A4A9-D1022633EE6F}"/>
              </a:ext>
            </a:extLst>
          </p:cNvPr>
          <p:cNvSpPr/>
          <p:nvPr/>
        </p:nvSpPr>
        <p:spPr>
          <a:xfrm>
            <a:off x="1059120" y="0"/>
            <a:ext cx="640800" cy="4919628"/>
          </a:xfrm>
          <a:custGeom>
            <a:avLst/>
            <a:gdLst>
              <a:gd name="connsiteX0" fmla="*/ 0 w 640800"/>
              <a:gd name="connsiteY0" fmla="*/ 0 h 4919628"/>
              <a:gd name="connsiteX1" fmla="*/ 625208 w 640800"/>
              <a:gd name="connsiteY1" fmla="*/ 0 h 4919628"/>
              <a:gd name="connsiteX2" fmla="*/ 640800 w 640800"/>
              <a:gd name="connsiteY2" fmla="*/ 0 h 4919628"/>
              <a:gd name="connsiteX3" fmla="*/ 640800 w 640800"/>
              <a:gd name="connsiteY3" fmla="*/ 914400 h 4919628"/>
              <a:gd name="connsiteX4" fmla="*/ 639537 w 640800"/>
              <a:gd name="connsiteY4" fmla="*/ 914400 h 4919628"/>
              <a:gd name="connsiteX5" fmla="*/ 639537 w 640800"/>
              <a:gd name="connsiteY5" fmla="*/ 4280091 h 4919628"/>
              <a:gd name="connsiteX6" fmla="*/ 0 w 640800"/>
              <a:gd name="connsiteY6" fmla="*/ 4919628 h 4919628"/>
              <a:gd name="connsiteX7" fmla="*/ 0 w 640800"/>
              <a:gd name="connsiteY7" fmla="*/ 914400 h 491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919628">
                <a:moveTo>
                  <a:pt x="0" y="0"/>
                </a:moveTo>
                <a:lnTo>
                  <a:pt x="625208" y="0"/>
                </a:lnTo>
                <a:lnTo>
                  <a:pt x="640800" y="0"/>
                </a:lnTo>
                <a:lnTo>
                  <a:pt x="640800" y="914400"/>
                </a:lnTo>
                <a:lnTo>
                  <a:pt x="639537" y="914400"/>
                </a:lnTo>
                <a:lnTo>
                  <a:pt x="639537" y="4280091"/>
                </a:lnTo>
                <a:lnTo>
                  <a:pt x="0" y="4919628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5" name="Полилиния: фигура 114">
            <a:extLst>
              <a:ext uri="{FF2B5EF4-FFF2-40B4-BE49-F238E27FC236}">
                <a16:creationId xmlns:a16="http://schemas.microsoft.com/office/drawing/2014/main" id="{1080C500-E1F3-41A1-859D-E9BB186C608F}"/>
              </a:ext>
            </a:extLst>
          </p:cNvPr>
          <p:cNvSpPr/>
          <p:nvPr/>
        </p:nvSpPr>
        <p:spPr>
          <a:xfrm>
            <a:off x="2337657" y="0"/>
            <a:ext cx="640800" cy="4706448"/>
          </a:xfrm>
          <a:custGeom>
            <a:avLst/>
            <a:gdLst>
              <a:gd name="connsiteX0" fmla="*/ 0 w 640800"/>
              <a:gd name="connsiteY0" fmla="*/ 0 h 4706448"/>
              <a:gd name="connsiteX1" fmla="*/ 640800 w 640800"/>
              <a:gd name="connsiteY1" fmla="*/ 0 h 4706448"/>
              <a:gd name="connsiteX2" fmla="*/ 640800 w 640800"/>
              <a:gd name="connsiteY2" fmla="*/ 228235 h 4706448"/>
              <a:gd name="connsiteX3" fmla="*/ 640800 w 640800"/>
              <a:gd name="connsiteY3" fmla="*/ 914399 h 4706448"/>
              <a:gd name="connsiteX4" fmla="*/ 640800 w 640800"/>
              <a:gd name="connsiteY4" fmla="*/ 4066911 h 4706448"/>
              <a:gd name="connsiteX5" fmla="*/ 535 w 640800"/>
              <a:gd name="connsiteY5" fmla="*/ 4706448 h 4706448"/>
              <a:gd name="connsiteX6" fmla="*/ 535 w 640800"/>
              <a:gd name="connsiteY6" fmla="*/ 914399 h 4706448"/>
              <a:gd name="connsiteX7" fmla="*/ 0 w 640800"/>
              <a:gd name="connsiteY7" fmla="*/ 914399 h 4706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706448">
                <a:moveTo>
                  <a:pt x="0" y="0"/>
                </a:moveTo>
                <a:lnTo>
                  <a:pt x="640800" y="0"/>
                </a:lnTo>
                <a:lnTo>
                  <a:pt x="640800" y="228235"/>
                </a:lnTo>
                <a:lnTo>
                  <a:pt x="640800" y="914399"/>
                </a:lnTo>
                <a:lnTo>
                  <a:pt x="640800" y="4066911"/>
                </a:lnTo>
                <a:lnTo>
                  <a:pt x="535" y="4706448"/>
                </a:lnTo>
                <a:lnTo>
                  <a:pt x="535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8" name="Полилиния: фигура 117">
            <a:extLst>
              <a:ext uri="{FF2B5EF4-FFF2-40B4-BE49-F238E27FC236}">
                <a16:creationId xmlns:a16="http://schemas.microsoft.com/office/drawing/2014/main" id="{74A4B6E7-2238-4377-9F71-463F621D9F03}"/>
              </a:ext>
            </a:extLst>
          </p:cNvPr>
          <p:cNvSpPr/>
          <p:nvPr userDrawn="1"/>
        </p:nvSpPr>
        <p:spPr>
          <a:xfrm>
            <a:off x="3616730" y="0"/>
            <a:ext cx="640800" cy="4493268"/>
          </a:xfrm>
          <a:custGeom>
            <a:avLst/>
            <a:gdLst>
              <a:gd name="connsiteX0" fmla="*/ 0 w 640800"/>
              <a:gd name="connsiteY0" fmla="*/ 0 h 4493268"/>
              <a:gd name="connsiteX1" fmla="*/ 640800 w 640800"/>
              <a:gd name="connsiteY1" fmla="*/ 0 h 4493268"/>
              <a:gd name="connsiteX2" fmla="*/ 640800 w 640800"/>
              <a:gd name="connsiteY2" fmla="*/ 441413 h 4493268"/>
              <a:gd name="connsiteX3" fmla="*/ 640800 w 640800"/>
              <a:gd name="connsiteY3" fmla="*/ 914399 h 4493268"/>
              <a:gd name="connsiteX4" fmla="*/ 640800 w 640800"/>
              <a:gd name="connsiteY4" fmla="*/ 3853004 h 4493268"/>
              <a:gd name="connsiteX5" fmla="*/ 1263 w 640800"/>
              <a:gd name="connsiteY5" fmla="*/ 4493268 h 4493268"/>
              <a:gd name="connsiteX6" fmla="*/ 1263 w 640800"/>
              <a:gd name="connsiteY6" fmla="*/ 914399 h 4493268"/>
              <a:gd name="connsiteX7" fmla="*/ 0 w 640800"/>
              <a:gd name="connsiteY7" fmla="*/ 914399 h 4493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493268">
                <a:moveTo>
                  <a:pt x="0" y="0"/>
                </a:moveTo>
                <a:lnTo>
                  <a:pt x="640800" y="0"/>
                </a:lnTo>
                <a:lnTo>
                  <a:pt x="640800" y="441413"/>
                </a:lnTo>
                <a:lnTo>
                  <a:pt x="640800" y="914399"/>
                </a:lnTo>
                <a:lnTo>
                  <a:pt x="640800" y="3853004"/>
                </a:lnTo>
                <a:lnTo>
                  <a:pt x="1263" y="4493268"/>
                </a:lnTo>
                <a:lnTo>
                  <a:pt x="1263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7" name="Полилиния: фигура 106">
            <a:extLst>
              <a:ext uri="{FF2B5EF4-FFF2-40B4-BE49-F238E27FC236}">
                <a16:creationId xmlns:a16="http://schemas.microsoft.com/office/drawing/2014/main" id="{9969CFF9-EA23-4816-A325-913254C85A5D}"/>
              </a:ext>
            </a:extLst>
          </p:cNvPr>
          <p:cNvSpPr/>
          <p:nvPr/>
        </p:nvSpPr>
        <p:spPr>
          <a:xfrm>
            <a:off x="4896533" y="0"/>
            <a:ext cx="640800" cy="4280090"/>
          </a:xfrm>
          <a:custGeom>
            <a:avLst/>
            <a:gdLst>
              <a:gd name="connsiteX0" fmla="*/ 0 w 640800"/>
              <a:gd name="connsiteY0" fmla="*/ 0 h 4280090"/>
              <a:gd name="connsiteX1" fmla="*/ 640800 w 640800"/>
              <a:gd name="connsiteY1" fmla="*/ 0 h 4280090"/>
              <a:gd name="connsiteX2" fmla="*/ 640800 w 640800"/>
              <a:gd name="connsiteY2" fmla="*/ 654593 h 4280090"/>
              <a:gd name="connsiteX3" fmla="*/ 640800 w 640800"/>
              <a:gd name="connsiteY3" fmla="*/ 914400 h 4280090"/>
              <a:gd name="connsiteX4" fmla="*/ 640800 w 640800"/>
              <a:gd name="connsiteY4" fmla="*/ 3639826 h 4280090"/>
              <a:gd name="connsiteX5" fmla="*/ 1263 w 640800"/>
              <a:gd name="connsiteY5" fmla="*/ 4280090 h 4280090"/>
              <a:gd name="connsiteX6" fmla="*/ 1263 w 640800"/>
              <a:gd name="connsiteY6" fmla="*/ 914400 h 4280090"/>
              <a:gd name="connsiteX7" fmla="*/ 0 w 640800"/>
              <a:gd name="connsiteY7" fmla="*/ 914400 h 4280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280090">
                <a:moveTo>
                  <a:pt x="0" y="0"/>
                </a:moveTo>
                <a:lnTo>
                  <a:pt x="640800" y="0"/>
                </a:lnTo>
                <a:lnTo>
                  <a:pt x="640800" y="654593"/>
                </a:lnTo>
                <a:lnTo>
                  <a:pt x="640800" y="914400"/>
                </a:lnTo>
                <a:lnTo>
                  <a:pt x="640800" y="3639826"/>
                </a:lnTo>
                <a:lnTo>
                  <a:pt x="1263" y="4280090"/>
                </a:lnTo>
                <a:lnTo>
                  <a:pt x="1263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99" name="Полилиния: фигура 98">
            <a:extLst>
              <a:ext uri="{FF2B5EF4-FFF2-40B4-BE49-F238E27FC236}">
                <a16:creationId xmlns:a16="http://schemas.microsoft.com/office/drawing/2014/main" id="{EBBD11E5-3800-4C06-8C9D-FA6A9A56A45A}"/>
              </a:ext>
            </a:extLst>
          </p:cNvPr>
          <p:cNvSpPr/>
          <p:nvPr/>
        </p:nvSpPr>
        <p:spPr>
          <a:xfrm>
            <a:off x="1697392" y="4706447"/>
            <a:ext cx="640801" cy="2151553"/>
          </a:xfrm>
          <a:custGeom>
            <a:avLst/>
            <a:gdLst>
              <a:gd name="connsiteX0" fmla="*/ 640801 w 640801"/>
              <a:gd name="connsiteY0" fmla="*/ 0 h 2151553"/>
              <a:gd name="connsiteX1" fmla="*/ 640801 w 640801"/>
              <a:gd name="connsiteY1" fmla="*/ 1629036 h 2151553"/>
              <a:gd name="connsiteX2" fmla="*/ 640800 w 640801"/>
              <a:gd name="connsiteY2" fmla="*/ 1629036 h 2151553"/>
              <a:gd name="connsiteX3" fmla="*/ 640800 w 640801"/>
              <a:gd name="connsiteY3" fmla="*/ 2151553 h 2151553"/>
              <a:gd name="connsiteX4" fmla="*/ 0 w 640801"/>
              <a:gd name="connsiteY4" fmla="*/ 2151553 h 2151553"/>
              <a:gd name="connsiteX5" fmla="*/ 0 w 640801"/>
              <a:gd name="connsiteY5" fmla="*/ 1237153 h 2151553"/>
              <a:gd name="connsiteX6" fmla="*/ 1264 w 640801"/>
              <a:gd name="connsiteY6" fmla="*/ 1237153 h 2151553"/>
              <a:gd name="connsiteX7" fmla="*/ 1264 w 640801"/>
              <a:gd name="connsiteY7" fmla="*/ 639537 h 2151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1" h="2151553">
                <a:moveTo>
                  <a:pt x="640801" y="0"/>
                </a:moveTo>
                <a:lnTo>
                  <a:pt x="640801" y="1629036"/>
                </a:lnTo>
                <a:lnTo>
                  <a:pt x="640800" y="1629036"/>
                </a:lnTo>
                <a:lnTo>
                  <a:pt x="640800" y="2151553"/>
                </a:lnTo>
                <a:lnTo>
                  <a:pt x="0" y="2151553"/>
                </a:lnTo>
                <a:lnTo>
                  <a:pt x="0" y="1237153"/>
                </a:lnTo>
                <a:lnTo>
                  <a:pt x="1264" y="1237153"/>
                </a:lnTo>
                <a:lnTo>
                  <a:pt x="1264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0" name="Полилиния: фигура 99">
            <a:extLst>
              <a:ext uri="{FF2B5EF4-FFF2-40B4-BE49-F238E27FC236}">
                <a16:creationId xmlns:a16="http://schemas.microsoft.com/office/drawing/2014/main" id="{91B0E24D-062D-4366-B715-F55EF2FBDB9D}"/>
              </a:ext>
            </a:extLst>
          </p:cNvPr>
          <p:cNvSpPr/>
          <p:nvPr/>
        </p:nvSpPr>
        <p:spPr>
          <a:xfrm>
            <a:off x="418855" y="4919627"/>
            <a:ext cx="640800" cy="1938373"/>
          </a:xfrm>
          <a:custGeom>
            <a:avLst/>
            <a:gdLst>
              <a:gd name="connsiteX0" fmla="*/ 640265 w 640800"/>
              <a:gd name="connsiteY0" fmla="*/ 0 h 1938373"/>
              <a:gd name="connsiteX1" fmla="*/ 640265 w 640800"/>
              <a:gd name="connsiteY1" fmla="*/ 1023973 h 1938373"/>
              <a:gd name="connsiteX2" fmla="*/ 640800 w 640800"/>
              <a:gd name="connsiteY2" fmla="*/ 1023973 h 1938373"/>
              <a:gd name="connsiteX3" fmla="*/ 640800 w 640800"/>
              <a:gd name="connsiteY3" fmla="*/ 1938373 h 1938373"/>
              <a:gd name="connsiteX4" fmla="*/ 0 w 640800"/>
              <a:gd name="connsiteY4" fmla="*/ 1938373 h 1938373"/>
              <a:gd name="connsiteX5" fmla="*/ 0 w 640800"/>
              <a:gd name="connsiteY5" fmla="*/ 1415857 h 1938373"/>
              <a:gd name="connsiteX6" fmla="*/ 0 w 640800"/>
              <a:gd name="connsiteY6" fmla="*/ 1023973 h 1938373"/>
              <a:gd name="connsiteX7" fmla="*/ 0 w 640800"/>
              <a:gd name="connsiteY7" fmla="*/ 639537 h 193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1938373">
                <a:moveTo>
                  <a:pt x="640265" y="0"/>
                </a:moveTo>
                <a:lnTo>
                  <a:pt x="640265" y="1023973"/>
                </a:lnTo>
                <a:lnTo>
                  <a:pt x="640800" y="1023973"/>
                </a:lnTo>
                <a:lnTo>
                  <a:pt x="640800" y="1938373"/>
                </a:lnTo>
                <a:lnTo>
                  <a:pt x="0" y="1938373"/>
                </a:lnTo>
                <a:lnTo>
                  <a:pt x="0" y="1415857"/>
                </a:lnTo>
                <a:lnTo>
                  <a:pt x="0" y="1023973"/>
                </a:lnTo>
                <a:lnTo>
                  <a:pt x="0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37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/>
          </a:p>
        </p:txBody>
      </p:sp>
      <p:sp>
        <p:nvSpPr>
          <p:cNvPr id="97" name="Полилиния: фигура 96">
            <a:extLst>
              <a:ext uri="{FF2B5EF4-FFF2-40B4-BE49-F238E27FC236}">
                <a16:creationId xmlns:a16="http://schemas.microsoft.com/office/drawing/2014/main" id="{4DEEB83B-D4A1-493A-AD6A-B5158CBDE89D}"/>
              </a:ext>
            </a:extLst>
          </p:cNvPr>
          <p:cNvSpPr/>
          <p:nvPr userDrawn="1"/>
        </p:nvSpPr>
        <p:spPr>
          <a:xfrm>
            <a:off x="2977195" y="4493268"/>
            <a:ext cx="640800" cy="2364732"/>
          </a:xfrm>
          <a:custGeom>
            <a:avLst/>
            <a:gdLst>
              <a:gd name="connsiteX0" fmla="*/ 640800 w 640800"/>
              <a:gd name="connsiteY0" fmla="*/ 0 h 2364732"/>
              <a:gd name="connsiteX1" fmla="*/ 640800 w 640800"/>
              <a:gd name="connsiteY1" fmla="*/ 1450332 h 2364732"/>
              <a:gd name="connsiteX2" fmla="*/ 640800 w 640800"/>
              <a:gd name="connsiteY2" fmla="*/ 1842215 h 2364732"/>
              <a:gd name="connsiteX3" fmla="*/ 640800 w 640800"/>
              <a:gd name="connsiteY3" fmla="*/ 2364732 h 2364732"/>
              <a:gd name="connsiteX4" fmla="*/ 0 w 640800"/>
              <a:gd name="connsiteY4" fmla="*/ 2364732 h 2364732"/>
              <a:gd name="connsiteX5" fmla="*/ 0 w 640800"/>
              <a:gd name="connsiteY5" fmla="*/ 1450332 h 2364732"/>
              <a:gd name="connsiteX6" fmla="*/ 1263 w 640800"/>
              <a:gd name="connsiteY6" fmla="*/ 1450332 h 2364732"/>
              <a:gd name="connsiteX7" fmla="*/ 1263 w 640800"/>
              <a:gd name="connsiteY7" fmla="*/ 639537 h 236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64732">
                <a:moveTo>
                  <a:pt x="640800" y="0"/>
                </a:moveTo>
                <a:lnTo>
                  <a:pt x="640800" y="1450332"/>
                </a:lnTo>
                <a:lnTo>
                  <a:pt x="640800" y="1842215"/>
                </a:lnTo>
                <a:lnTo>
                  <a:pt x="640800" y="2364732"/>
                </a:lnTo>
                <a:lnTo>
                  <a:pt x="0" y="2364732"/>
                </a:lnTo>
                <a:lnTo>
                  <a:pt x="0" y="1450332"/>
                </a:lnTo>
                <a:lnTo>
                  <a:pt x="1263" y="1450332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3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6" name="Полилиния: фигура 95">
            <a:extLst>
              <a:ext uri="{FF2B5EF4-FFF2-40B4-BE49-F238E27FC236}">
                <a16:creationId xmlns:a16="http://schemas.microsoft.com/office/drawing/2014/main" id="{BF3FCD6D-06D6-4940-8A8A-C0D3C72A5930}"/>
              </a:ext>
            </a:extLst>
          </p:cNvPr>
          <p:cNvSpPr/>
          <p:nvPr userDrawn="1"/>
        </p:nvSpPr>
        <p:spPr>
          <a:xfrm>
            <a:off x="4256998" y="4280091"/>
            <a:ext cx="640800" cy="2577909"/>
          </a:xfrm>
          <a:custGeom>
            <a:avLst/>
            <a:gdLst>
              <a:gd name="connsiteX0" fmla="*/ 640800 w 640800"/>
              <a:gd name="connsiteY0" fmla="*/ 0 h 2577909"/>
              <a:gd name="connsiteX1" fmla="*/ 640800 w 640800"/>
              <a:gd name="connsiteY1" fmla="*/ 1663509 h 2577909"/>
              <a:gd name="connsiteX2" fmla="*/ 640800 w 640800"/>
              <a:gd name="connsiteY2" fmla="*/ 2055394 h 2577909"/>
              <a:gd name="connsiteX3" fmla="*/ 640800 w 640800"/>
              <a:gd name="connsiteY3" fmla="*/ 2577909 h 2577909"/>
              <a:gd name="connsiteX4" fmla="*/ 0 w 640800"/>
              <a:gd name="connsiteY4" fmla="*/ 2577909 h 2577909"/>
              <a:gd name="connsiteX5" fmla="*/ 0 w 640800"/>
              <a:gd name="connsiteY5" fmla="*/ 1663509 h 2577909"/>
              <a:gd name="connsiteX6" fmla="*/ 535 w 640800"/>
              <a:gd name="connsiteY6" fmla="*/ 1663509 h 2577909"/>
              <a:gd name="connsiteX7" fmla="*/ 535 w 640800"/>
              <a:gd name="connsiteY7" fmla="*/ 639537 h 257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577909">
                <a:moveTo>
                  <a:pt x="640800" y="0"/>
                </a:moveTo>
                <a:lnTo>
                  <a:pt x="640800" y="1663509"/>
                </a:lnTo>
                <a:lnTo>
                  <a:pt x="640800" y="2055394"/>
                </a:lnTo>
                <a:lnTo>
                  <a:pt x="640800" y="2577909"/>
                </a:lnTo>
                <a:lnTo>
                  <a:pt x="0" y="2577909"/>
                </a:lnTo>
                <a:lnTo>
                  <a:pt x="0" y="1663509"/>
                </a:lnTo>
                <a:lnTo>
                  <a:pt x="535" y="1663509"/>
                </a:lnTo>
                <a:lnTo>
                  <a:pt x="535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5" name="Полилиния: фигура 94">
            <a:extLst>
              <a:ext uri="{FF2B5EF4-FFF2-40B4-BE49-F238E27FC236}">
                <a16:creationId xmlns:a16="http://schemas.microsoft.com/office/drawing/2014/main" id="{79A41FE2-A269-46F7-AAA1-4D87796A51CA}"/>
              </a:ext>
            </a:extLst>
          </p:cNvPr>
          <p:cNvSpPr/>
          <p:nvPr userDrawn="1"/>
        </p:nvSpPr>
        <p:spPr>
          <a:xfrm>
            <a:off x="5536071" y="4066912"/>
            <a:ext cx="640800" cy="2791088"/>
          </a:xfrm>
          <a:custGeom>
            <a:avLst/>
            <a:gdLst>
              <a:gd name="connsiteX0" fmla="*/ 640800 w 640800"/>
              <a:gd name="connsiteY0" fmla="*/ 0 h 2791088"/>
              <a:gd name="connsiteX1" fmla="*/ 640800 w 640800"/>
              <a:gd name="connsiteY1" fmla="*/ 1876688 h 2791088"/>
              <a:gd name="connsiteX2" fmla="*/ 640800 w 640800"/>
              <a:gd name="connsiteY2" fmla="*/ 2268573 h 2791088"/>
              <a:gd name="connsiteX3" fmla="*/ 640800 w 640800"/>
              <a:gd name="connsiteY3" fmla="*/ 2791088 h 2791088"/>
              <a:gd name="connsiteX4" fmla="*/ 0 w 640800"/>
              <a:gd name="connsiteY4" fmla="*/ 2791088 h 2791088"/>
              <a:gd name="connsiteX5" fmla="*/ 0 w 640800"/>
              <a:gd name="connsiteY5" fmla="*/ 1876688 h 2791088"/>
              <a:gd name="connsiteX6" fmla="*/ 1263 w 640800"/>
              <a:gd name="connsiteY6" fmla="*/ 1876688 h 2791088"/>
              <a:gd name="connsiteX7" fmla="*/ 1263 w 640800"/>
              <a:gd name="connsiteY7" fmla="*/ 639537 h 279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791088">
                <a:moveTo>
                  <a:pt x="640800" y="0"/>
                </a:moveTo>
                <a:lnTo>
                  <a:pt x="640800" y="1876688"/>
                </a:lnTo>
                <a:lnTo>
                  <a:pt x="640800" y="2268573"/>
                </a:lnTo>
                <a:lnTo>
                  <a:pt x="640800" y="2791088"/>
                </a:lnTo>
                <a:lnTo>
                  <a:pt x="0" y="2791088"/>
                </a:lnTo>
                <a:lnTo>
                  <a:pt x="0" y="1876688"/>
                </a:lnTo>
                <a:lnTo>
                  <a:pt x="1263" y="1876688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4" name="Полилиния: фигура 93">
            <a:extLst>
              <a:ext uri="{FF2B5EF4-FFF2-40B4-BE49-F238E27FC236}">
                <a16:creationId xmlns:a16="http://schemas.microsoft.com/office/drawing/2014/main" id="{1AA19B25-CED2-4730-B85C-BE30DD0760C3}"/>
              </a:ext>
            </a:extLst>
          </p:cNvPr>
          <p:cNvSpPr/>
          <p:nvPr userDrawn="1"/>
        </p:nvSpPr>
        <p:spPr>
          <a:xfrm>
            <a:off x="6815872" y="3853004"/>
            <a:ext cx="640800" cy="3004996"/>
          </a:xfrm>
          <a:custGeom>
            <a:avLst/>
            <a:gdLst>
              <a:gd name="connsiteX0" fmla="*/ 640800 w 640800"/>
              <a:gd name="connsiteY0" fmla="*/ 0 h 3004996"/>
              <a:gd name="connsiteX1" fmla="*/ 640800 w 640800"/>
              <a:gd name="connsiteY1" fmla="*/ 2090596 h 3004996"/>
              <a:gd name="connsiteX2" fmla="*/ 640800 w 640800"/>
              <a:gd name="connsiteY2" fmla="*/ 2482480 h 3004996"/>
              <a:gd name="connsiteX3" fmla="*/ 640800 w 640800"/>
              <a:gd name="connsiteY3" fmla="*/ 3004996 h 3004996"/>
              <a:gd name="connsiteX4" fmla="*/ 0 w 640800"/>
              <a:gd name="connsiteY4" fmla="*/ 3004996 h 3004996"/>
              <a:gd name="connsiteX5" fmla="*/ 0 w 640800"/>
              <a:gd name="connsiteY5" fmla="*/ 2090596 h 3004996"/>
              <a:gd name="connsiteX6" fmla="*/ 1264 w 640800"/>
              <a:gd name="connsiteY6" fmla="*/ 2090596 h 3004996"/>
              <a:gd name="connsiteX7" fmla="*/ 1264 w 640800"/>
              <a:gd name="connsiteY7" fmla="*/ 640264 h 300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3004996">
                <a:moveTo>
                  <a:pt x="640800" y="0"/>
                </a:moveTo>
                <a:lnTo>
                  <a:pt x="640800" y="2090596"/>
                </a:lnTo>
                <a:lnTo>
                  <a:pt x="640800" y="2482480"/>
                </a:lnTo>
                <a:lnTo>
                  <a:pt x="640800" y="3004996"/>
                </a:lnTo>
                <a:lnTo>
                  <a:pt x="0" y="3004996"/>
                </a:lnTo>
                <a:lnTo>
                  <a:pt x="0" y="2090596"/>
                </a:lnTo>
                <a:lnTo>
                  <a:pt x="1264" y="2090596"/>
                </a:lnTo>
                <a:lnTo>
                  <a:pt x="1264" y="640264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106" name="Полилиния: фигура 105">
            <a:extLst>
              <a:ext uri="{FF2B5EF4-FFF2-40B4-BE49-F238E27FC236}">
                <a16:creationId xmlns:a16="http://schemas.microsoft.com/office/drawing/2014/main" id="{EA90A305-B0ED-471E-AC84-D59C48E4B839}"/>
              </a:ext>
            </a:extLst>
          </p:cNvPr>
          <p:cNvSpPr/>
          <p:nvPr userDrawn="1"/>
        </p:nvSpPr>
        <p:spPr>
          <a:xfrm>
            <a:off x="6176336" y="0"/>
            <a:ext cx="640800" cy="4066911"/>
          </a:xfrm>
          <a:custGeom>
            <a:avLst/>
            <a:gdLst>
              <a:gd name="connsiteX0" fmla="*/ 0 w 640800"/>
              <a:gd name="connsiteY0" fmla="*/ 0 h 4066911"/>
              <a:gd name="connsiteX1" fmla="*/ 640800 w 640800"/>
              <a:gd name="connsiteY1" fmla="*/ 0 h 4066911"/>
              <a:gd name="connsiteX2" fmla="*/ 640800 w 640800"/>
              <a:gd name="connsiteY2" fmla="*/ 867772 h 4066911"/>
              <a:gd name="connsiteX3" fmla="*/ 640800 w 640800"/>
              <a:gd name="connsiteY3" fmla="*/ 914400 h 4066911"/>
              <a:gd name="connsiteX4" fmla="*/ 640800 w 640800"/>
              <a:gd name="connsiteY4" fmla="*/ 3426647 h 4066911"/>
              <a:gd name="connsiteX5" fmla="*/ 535 w 640800"/>
              <a:gd name="connsiteY5" fmla="*/ 4066911 h 4066911"/>
              <a:gd name="connsiteX6" fmla="*/ 535 w 640800"/>
              <a:gd name="connsiteY6" fmla="*/ 914400 h 4066911"/>
              <a:gd name="connsiteX7" fmla="*/ 0 w 640800"/>
              <a:gd name="connsiteY7" fmla="*/ 914400 h 4066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066911">
                <a:moveTo>
                  <a:pt x="0" y="0"/>
                </a:moveTo>
                <a:lnTo>
                  <a:pt x="640800" y="0"/>
                </a:lnTo>
                <a:lnTo>
                  <a:pt x="640800" y="867772"/>
                </a:lnTo>
                <a:lnTo>
                  <a:pt x="640800" y="914400"/>
                </a:lnTo>
                <a:lnTo>
                  <a:pt x="640800" y="3426647"/>
                </a:lnTo>
                <a:lnTo>
                  <a:pt x="535" y="4066911"/>
                </a:lnTo>
                <a:lnTo>
                  <a:pt x="535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125" name="Полилиния: фигура 124">
            <a:extLst>
              <a:ext uri="{FF2B5EF4-FFF2-40B4-BE49-F238E27FC236}">
                <a16:creationId xmlns:a16="http://schemas.microsoft.com/office/drawing/2014/main" id="{091B8521-7793-4693-B444-4C03B3B4A9CD}"/>
              </a:ext>
            </a:extLst>
          </p:cNvPr>
          <p:cNvSpPr/>
          <p:nvPr userDrawn="1"/>
        </p:nvSpPr>
        <p:spPr>
          <a:xfrm>
            <a:off x="-1" y="1"/>
            <a:ext cx="241108" cy="4816587"/>
          </a:xfrm>
          <a:custGeom>
            <a:avLst/>
            <a:gdLst>
              <a:gd name="connsiteX0" fmla="*/ 0 w 241108"/>
              <a:gd name="connsiteY0" fmla="*/ 0 h 4816587"/>
              <a:gd name="connsiteX1" fmla="*/ 241108 w 241108"/>
              <a:gd name="connsiteY1" fmla="*/ 0 h 4816587"/>
              <a:gd name="connsiteX2" fmla="*/ 241108 w 241108"/>
              <a:gd name="connsiteY2" fmla="*/ 870342 h 4816587"/>
              <a:gd name="connsiteX3" fmla="*/ 241107 w 241108"/>
              <a:gd name="connsiteY3" fmla="*/ 870342 h 4816587"/>
              <a:gd name="connsiteX4" fmla="*/ 241107 w 241108"/>
              <a:gd name="connsiteY4" fmla="*/ 1211052 h 4816587"/>
              <a:gd name="connsiteX5" fmla="*/ 239844 w 241108"/>
              <a:gd name="connsiteY5" fmla="*/ 1211052 h 4816587"/>
              <a:gd name="connsiteX6" fmla="*/ 239844 w 241108"/>
              <a:gd name="connsiteY6" fmla="*/ 4576743 h 4816587"/>
              <a:gd name="connsiteX7" fmla="*/ 0 w 241108"/>
              <a:gd name="connsiteY7" fmla="*/ 4816587 h 481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1108" h="4816587">
                <a:moveTo>
                  <a:pt x="0" y="0"/>
                </a:moveTo>
                <a:lnTo>
                  <a:pt x="241108" y="0"/>
                </a:lnTo>
                <a:lnTo>
                  <a:pt x="241108" y="870342"/>
                </a:lnTo>
                <a:lnTo>
                  <a:pt x="241107" y="870342"/>
                </a:lnTo>
                <a:lnTo>
                  <a:pt x="241107" y="1211052"/>
                </a:lnTo>
                <a:lnTo>
                  <a:pt x="239844" y="1211052"/>
                </a:lnTo>
                <a:lnTo>
                  <a:pt x="239844" y="4576743"/>
                </a:lnTo>
                <a:lnTo>
                  <a:pt x="0" y="481658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28" name="Текст 39">
            <a:extLst>
              <a:ext uri="{FF2B5EF4-FFF2-40B4-BE49-F238E27FC236}">
                <a16:creationId xmlns:a16="http://schemas.microsoft.com/office/drawing/2014/main" id="{4177F1F4-2CA1-4AF9-87CA-005A9747E0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3629" y="4257092"/>
            <a:ext cx="6176427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раздела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31" name="Рисунок 10">
            <a:extLst>
              <a:ext uri="{FF2B5EF4-FFF2-40B4-BE49-F238E27FC236}">
                <a16:creationId xmlns:a16="http://schemas.microsoft.com/office/drawing/2014/main" id="{B6AA3FB8-AFE3-4F22-A75F-31D9DBFF8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41429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едлитель с диагональным паттерном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араллелограмм 6">
            <a:extLst>
              <a:ext uri="{FF2B5EF4-FFF2-40B4-BE49-F238E27FC236}">
                <a16:creationId xmlns:a16="http://schemas.microsoft.com/office/drawing/2014/main" id="{AA4AF783-430B-4C8F-8FCF-932803F467F5}"/>
              </a:ext>
            </a:extLst>
          </p:cNvPr>
          <p:cNvSpPr/>
          <p:nvPr/>
        </p:nvSpPr>
        <p:spPr>
          <a:xfrm>
            <a:off x="3548605" y="0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араллелограмм 7">
            <a:extLst>
              <a:ext uri="{FF2B5EF4-FFF2-40B4-BE49-F238E27FC236}">
                <a16:creationId xmlns:a16="http://schemas.microsoft.com/office/drawing/2014/main" id="{FEEDDF4E-FD57-41B2-B225-953B6EA027D1}"/>
              </a:ext>
            </a:extLst>
          </p:cNvPr>
          <p:cNvSpPr/>
          <p:nvPr/>
        </p:nvSpPr>
        <p:spPr>
          <a:xfrm>
            <a:off x="5941265" y="0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Полилиния: фигура 22">
            <a:extLst>
              <a:ext uri="{FF2B5EF4-FFF2-40B4-BE49-F238E27FC236}">
                <a16:creationId xmlns:a16="http://schemas.microsoft.com/office/drawing/2014/main" id="{15FF8BE3-CB84-49EC-B277-FD4E2EEE5729}"/>
              </a:ext>
            </a:extLst>
          </p:cNvPr>
          <p:cNvSpPr/>
          <p:nvPr/>
        </p:nvSpPr>
        <p:spPr>
          <a:xfrm>
            <a:off x="8333928" y="0"/>
            <a:ext cx="3858073" cy="3434914"/>
          </a:xfrm>
          <a:custGeom>
            <a:avLst/>
            <a:gdLst>
              <a:gd name="connsiteX0" fmla="*/ 3304216 w 3858073"/>
              <a:gd name="connsiteY0" fmla="*/ 0 h 3434914"/>
              <a:gd name="connsiteX1" fmla="*/ 3858073 w 3858073"/>
              <a:gd name="connsiteY1" fmla="*/ 0 h 3434914"/>
              <a:gd name="connsiteX2" fmla="*/ 3858073 w 3858073"/>
              <a:gd name="connsiteY2" fmla="*/ 668275 h 3434914"/>
              <a:gd name="connsiteX3" fmla="*/ 1196704 w 3858073"/>
              <a:gd name="connsiteY3" fmla="*/ 3434914 h 3434914"/>
              <a:gd name="connsiteX4" fmla="*/ 0 w 3858073"/>
              <a:gd name="connsiteY4" fmla="*/ 3434914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8073" h="3434914">
                <a:moveTo>
                  <a:pt x="3304216" y="0"/>
                </a:moveTo>
                <a:lnTo>
                  <a:pt x="3858073" y="0"/>
                </a:lnTo>
                <a:lnTo>
                  <a:pt x="3858073" y="668275"/>
                </a:lnTo>
                <a:lnTo>
                  <a:pt x="1196704" y="3434914"/>
                </a:lnTo>
                <a:lnTo>
                  <a:pt x="0" y="3434914"/>
                </a:lnTo>
                <a:close/>
              </a:path>
            </a:pathLst>
          </a:cu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id="{BC1BD6F0-FD89-4582-B4EC-82A01A1E99D9}"/>
              </a:ext>
            </a:extLst>
          </p:cNvPr>
          <p:cNvSpPr/>
          <p:nvPr/>
        </p:nvSpPr>
        <p:spPr>
          <a:xfrm>
            <a:off x="10726588" y="1911538"/>
            <a:ext cx="1465413" cy="1523377"/>
          </a:xfrm>
          <a:custGeom>
            <a:avLst/>
            <a:gdLst>
              <a:gd name="connsiteX0" fmla="*/ 1465413 w 1465413"/>
              <a:gd name="connsiteY0" fmla="*/ 0 h 1523377"/>
              <a:gd name="connsiteX1" fmla="*/ 1465413 w 1465413"/>
              <a:gd name="connsiteY1" fmla="*/ 1244039 h 1523377"/>
              <a:gd name="connsiteX2" fmla="*/ 1196704 w 1465413"/>
              <a:gd name="connsiteY2" fmla="*/ 1523377 h 1523377"/>
              <a:gd name="connsiteX3" fmla="*/ 0 w 1465413"/>
              <a:gd name="connsiteY3" fmla="*/ 1523377 h 1523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65413" h="1523377">
                <a:moveTo>
                  <a:pt x="1465413" y="0"/>
                </a:moveTo>
                <a:lnTo>
                  <a:pt x="1465413" y="1244039"/>
                </a:lnTo>
                <a:lnTo>
                  <a:pt x="1196704" y="1523377"/>
                </a:lnTo>
                <a:lnTo>
                  <a:pt x="0" y="1523377"/>
                </a:lnTo>
                <a:close/>
              </a:path>
            </a:pathLst>
          </a:cu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Параллелограмм 10">
            <a:extLst>
              <a:ext uri="{FF2B5EF4-FFF2-40B4-BE49-F238E27FC236}">
                <a16:creationId xmlns:a16="http://schemas.microsoft.com/office/drawing/2014/main" id="{F49C9FF9-DE43-4D1D-95D0-0E28AF19877B}"/>
              </a:ext>
            </a:extLst>
          </p:cNvPr>
          <p:cNvSpPr/>
          <p:nvPr/>
        </p:nvSpPr>
        <p:spPr>
          <a:xfrm>
            <a:off x="1450951" y="3423086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Параллелограмм 11">
            <a:extLst>
              <a:ext uri="{FF2B5EF4-FFF2-40B4-BE49-F238E27FC236}">
                <a16:creationId xmlns:a16="http://schemas.microsoft.com/office/drawing/2014/main" id="{F425DAFD-1B29-415B-9704-2E332FB65534}"/>
              </a:ext>
            </a:extLst>
          </p:cNvPr>
          <p:cNvSpPr/>
          <p:nvPr/>
        </p:nvSpPr>
        <p:spPr>
          <a:xfrm>
            <a:off x="3843613" y="3423086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Параллелограмм 12">
            <a:extLst>
              <a:ext uri="{FF2B5EF4-FFF2-40B4-BE49-F238E27FC236}">
                <a16:creationId xmlns:a16="http://schemas.microsoft.com/office/drawing/2014/main" id="{998314EC-5479-4B3A-B38D-053EE212E841}"/>
              </a:ext>
            </a:extLst>
          </p:cNvPr>
          <p:cNvSpPr/>
          <p:nvPr/>
        </p:nvSpPr>
        <p:spPr>
          <a:xfrm>
            <a:off x="6236274" y="3423086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Полилиния: фигура 25">
            <a:extLst>
              <a:ext uri="{FF2B5EF4-FFF2-40B4-BE49-F238E27FC236}">
                <a16:creationId xmlns:a16="http://schemas.microsoft.com/office/drawing/2014/main" id="{6214A511-888A-4563-85FF-ACEA85EBFFDB}"/>
              </a:ext>
            </a:extLst>
          </p:cNvPr>
          <p:cNvSpPr/>
          <p:nvPr/>
        </p:nvSpPr>
        <p:spPr>
          <a:xfrm>
            <a:off x="8628932" y="3423086"/>
            <a:ext cx="3563069" cy="3434914"/>
          </a:xfrm>
          <a:custGeom>
            <a:avLst/>
            <a:gdLst>
              <a:gd name="connsiteX0" fmla="*/ 3304216 w 3563069"/>
              <a:gd name="connsiteY0" fmla="*/ 0 h 3434914"/>
              <a:gd name="connsiteX1" fmla="*/ 3563069 w 3563069"/>
              <a:gd name="connsiteY1" fmla="*/ 0 h 3434914"/>
              <a:gd name="connsiteX2" fmla="*/ 3563069 w 3563069"/>
              <a:gd name="connsiteY2" fmla="*/ 974948 h 3434914"/>
              <a:gd name="connsiteX3" fmla="*/ 1196704 w 3563069"/>
              <a:gd name="connsiteY3" fmla="*/ 3434914 h 3434914"/>
              <a:gd name="connsiteX4" fmla="*/ 0 w 3563069"/>
              <a:gd name="connsiteY4" fmla="*/ 3434914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3069" h="3434914">
                <a:moveTo>
                  <a:pt x="3304216" y="0"/>
                </a:moveTo>
                <a:lnTo>
                  <a:pt x="3563069" y="0"/>
                </a:lnTo>
                <a:lnTo>
                  <a:pt x="3563069" y="974948"/>
                </a:lnTo>
                <a:lnTo>
                  <a:pt x="1196704" y="3434914"/>
                </a:lnTo>
                <a:lnTo>
                  <a:pt x="0" y="3434914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Параллелограмм 14">
            <a:extLst>
              <a:ext uri="{FF2B5EF4-FFF2-40B4-BE49-F238E27FC236}">
                <a16:creationId xmlns:a16="http://schemas.microsoft.com/office/drawing/2014/main" id="{31F734ED-68BC-42E0-8B68-128A5E70D998}"/>
              </a:ext>
            </a:extLst>
          </p:cNvPr>
          <p:cNvSpPr/>
          <p:nvPr/>
        </p:nvSpPr>
        <p:spPr>
          <a:xfrm>
            <a:off x="1163025" y="0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Полилиния: фигура 34">
            <a:extLst>
              <a:ext uri="{FF2B5EF4-FFF2-40B4-BE49-F238E27FC236}">
                <a16:creationId xmlns:a16="http://schemas.microsoft.com/office/drawing/2014/main" id="{9725B0E4-7EE0-4DAD-9228-52E5FF35C598}"/>
              </a:ext>
            </a:extLst>
          </p:cNvPr>
          <p:cNvSpPr/>
          <p:nvPr/>
        </p:nvSpPr>
        <p:spPr>
          <a:xfrm>
            <a:off x="0" y="3423086"/>
            <a:ext cx="3566290" cy="3434914"/>
          </a:xfrm>
          <a:custGeom>
            <a:avLst/>
            <a:gdLst>
              <a:gd name="connsiteX0" fmla="*/ 2369586 w 3566290"/>
              <a:gd name="connsiteY0" fmla="*/ 0 h 3434914"/>
              <a:gd name="connsiteX1" fmla="*/ 3566290 w 3566290"/>
              <a:gd name="connsiteY1" fmla="*/ 0 h 3434914"/>
              <a:gd name="connsiteX2" fmla="*/ 262074 w 3566290"/>
              <a:gd name="connsiteY2" fmla="*/ 3434914 h 3434914"/>
              <a:gd name="connsiteX3" fmla="*/ 0 w 3566290"/>
              <a:gd name="connsiteY3" fmla="*/ 3434914 h 3434914"/>
              <a:gd name="connsiteX4" fmla="*/ 0 w 3566290"/>
              <a:gd name="connsiteY4" fmla="*/ 2463315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6290" h="3434914">
                <a:moveTo>
                  <a:pt x="2369586" y="0"/>
                </a:moveTo>
                <a:lnTo>
                  <a:pt x="3566290" y="0"/>
                </a:lnTo>
                <a:lnTo>
                  <a:pt x="262074" y="3434914"/>
                </a:lnTo>
                <a:lnTo>
                  <a:pt x="0" y="3434914"/>
                </a:lnTo>
                <a:lnTo>
                  <a:pt x="0" y="2463315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Полилиния: фигура 28">
            <a:extLst>
              <a:ext uri="{FF2B5EF4-FFF2-40B4-BE49-F238E27FC236}">
                <a16:creationId xmlns:a16="http://schemas.microsoft.com/office/drawing/2014/main" id="{06D2A420-D43F-40FC-9401-D5154F54DB05}"/>
              </a:ext>
            </a:extLst>
          </p:cNvPr>
          <p:cNvSpPr/>
          <p:nvPr/>
        </p:nvSpPr>
        <p:spPr>
          <a:xfrm>
            <a:off x="1" y="0"/>
            <a:ext cx="3453117" cy="3434914"/>
          </a:xfrm>
          <a:custGeom>
            <a:avLst/>
            <a:gdLst>
              <a:gd name="connsiteX0" fmla="*/ 2256413 w 3453117"/>
              <a:gd name="connsiteY0" fmla="*/ 0 h 3434914"/>
              <a:gd name="connsiteX1" fmla="*/ 3453117 w 3453117"/>
              <a:gd name="connsiteY1" fmla="*/ 0 h 3434914"/>
              <a:gd name="connsiteX2" fmla="*/ 148901 w 3453117"/>
              <a:gd name="connsiteY2" fmla="*/ 3434914 h 3434914"/>
              <a:gd name="connsiteX3" fmla="*/ 0 w 3453117"/>
              <a:gd name="connsiteY3" fmla="*/ 3434914 h 3434914"/>
              <a:gd name="connsiteX4" fmla="*/ 0 w 3453117"/>
              <a:gd name="connsiteY4" fmla="*/ 2345665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53117" h="3434914">
                <a:moveTo>
                  <a:pt x="2256413" y="0"/>
                </a:moveTo>
                <a:lnTo>
                  <a:pt x="3453117" y="0"/>
                </a:lnTo>
                <a:lnTo>
                  <a:pt x="148901" y="3434914"/>
                </a:lnTo>
                <a:lnTo>
                  <a:pt x="0" y="3434914"/>
                </a:lnTo>
                <a:lnTo>
                  <a:pt x="0" y="2345665"/>
                </a:lnTo>
                <a:close/>
              </a:path>
            </a:pathLst>
          </a:cu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Полилиния: фигура 31">
            <a:extLst>
              <a:ext uri="{FF2B5EF4-FFF2-40B4-BE49-F238E27FC236}">
                <a16:creationId xmlns:a16="http://schemas.microsoft.com/office/drawing/2014/main" id="{C2D606E4-CD58-4A76-ADB5-52BB86319F80}"/>
              </a:ext>
            </a:extLst>
          </p:cNvPr>
          <p:cNvSpPr/>
          <p:nvPr/>
        </p:nvSpPr>
        <p:spPr>
          <a:xfrm>
            <a:off x="1" y="3423087"/>
            <a:ext cx="1355463" cy="1409079"/>
          </a:xfrm>
          <a:custGeom>
            <a:avLst/>
            <a:gdLst>
              <a:gd name="connsiteX0" fmla="*/ 158759 w 1355463"/>
              <a:gd name="connsiteY0" fmla="*/ 0 h 1409079"/>
              <a:gd name="connsiteX1" fmla="*/ 1355463 w 1355463"/>
              <a:gd name="connsiteY1" fmla="*/ 0 h 1409079"/>
              <a:gd name="connsiteX2" fmla="*/ 0 w 1355463"/>
              <a:gd name="connsiteY2" fmla="*/ 1409079 h 1409079"/>
              <a:gd name="connsiteX3" fmla="*/ 0 w 1355463"/>
              <a:gd name="connsiteY3" fmla="*/ 165039 h 1409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55463" h="1409079">
                <a:moveTo>
                  <a:pt x="158759" y="0"/>
                </a:moveTo>
                <a:lnTo>
                  <a:pt x="1355463" y="0"/>
                </a:lnTo>
                <a:lnTo>
                  <a:pt x="0" y="1409079"/>
                </a:lnTo>
                <a:lnTo>
                  <a:pt x="0" y="165039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133BE75-A31E-402E-93D1-FF823C1D9D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40" name="Текст 39">
            <a:extLst>
              <a:ext uri="{FF2B5EF4-FFF2-40B4-BE49-F238E27FC236}">
                <a16:creationId xmlns:a16="http://schemas.microsoft.com/office/drawing/2014/main" id="{8F572E13-DCA4-42FB-8A87-2C3147194C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8" y="302719"/>
            <a:ext cx="9272771" cy="135421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раздела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</p:spTree>
    <p:extLst>
      <p:ext uri="{BB962C8B-B14F-4D97-AF65-F5344CB8AC3E}">
        <p14:creationId xmlns:p14="http://schemas.microsoft.com/office/powerpoint/2010/main" val="24212095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0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59386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едлитель с круговым паттерном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Дуга 18">
            <a:extLst>
              <a:ext uri="{FF2B5EF4-FFF2-40B4-BE49-F238E27FC236}">
                <a16:creationId xmlns:a16="http://schemas.microsoft.com/office/drawing/2014/main" id="{4DB44090-C67B-4CDA-B217-D2DD4B52282E}"/>
              </a:ext>
            </a:extLst>
          </p:cNvPr>
          <p:cNvSpPr/>
          <p:nvPr/>
        </p:nvSpPr>
        <p:spPr bwMode="auto">
          <a:xfrm rot="3600000">
            <a:off x="4181341" y="1527645"/>
            <a:ext cx="3788737" cy="3788737"/>
          </a:xfrm>
          <a:prstGeom prst="arc">
            <a:avLst>
              <a:gd name="adj1" fmla="val 12535448"/>
              <a:gd name="adj2" fmla="val 5738127"/>
            </a:avLst>
          </a:prstGeom>
          <a:noFill/>
          <a:ln w="952500" cap="flat" cmpd="sng" algn="ctr"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Дуга 20">
            <a:extLst>
              <a:ext uri="{FF2B5EF4-FFF2-40B4-BE49-F238E27FC236}">
                <a16:creationId xmlns:a16="http://schemas.microsoft.com/office/drawing/2014/main" id="{DDABABAE-C084-488B-AB1F-4807DD67106D}"/>
              </a:ext>
            </a:extLst>
          </p:cNvPr>
          <p:cNvSpPr/>
          <p:nvPr/>
        </p:nvSpPr>
        <p:spPr bwMode="auto">
          <a:xfrm rot="3600000">
            <a:off x="3263679" y="596679"/>
            <a:ext cx="5664641" cy="5664641"/>
          </a:xfrm>
          <a:prstGeom prst="arc">
            <a:avLst>
              <a:gd name="adj1" fmla="val 7600294"/>
              <a:gd name="adj2" fmla="val 18090487"/>
            </a:avLst>
          </a:prstGeom>
          <a:noFill/>
          <a:ln w="952500" cap="flat" cmpd="sng" algn="ctr">
            <a:gradFill>
              <a:gsLst>
                <a:gs pos="100000">
                  <a:schemeClr val="accent2"/>
                </a:gs>
                <a:gs pos="14000">
                  <a:schemeClr val="accent2">
                    <a:lumMod val="75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Дуга 21">
            <a:extLst>
              <a:ext uri="{FF2B5EF4-FFF2-40B4-BE49-F238E27FC236}">
                <a16:creationId xmlns:a16="http://schemas.microsoft.com/office/drawing/2014/main" id="{E806DCA9-2C88-42F3-8A16-28C6BB63EFCA}"/>
              </a:ext>
            </a:extLst>
          </p:cNvPr>
          <p:cNvSpPr/>
          <p:nvPr/>
        </p:nvSpPr>
        <p:spPr bwMode="auto">
          <a:xfrm rot="3600000">
            <a:off x="2308029" y="-358971"/>
            <a:ext cx="7575942" cy="7575942"/>
          </a:xfrm>
          <a:prstGeom prst="arc">
            <a:avLst>
              <a:gd name="adj1" fmla="val 13279509"/>
              <a:gd name="adj2" fmla="val 21424019"/>
            </a:avLst>
          </a:prstGeom>
          <a:noFill/>
          <a:ln w="952500" cap="flat" cmpd="sng" algn="ctr">
            <a:gradFill>
              <a:gsLst>
                <a:gs pos="4500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0" scaled="0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4" name="Дуга 23">
            <a:extLst>
              <a:ext uri="{FF2B5EF4-FFF2-40B4-BE49-F238E27FC236}">
                <a16:creationId xmlns:a16="http://schemas.microsoft.com/office/drawing/2014/main" id="{C6B33325-73A3-424F-A577-F5C1CF382099}"/>
              </a:ext>
            </a:extLst>
          </p:cNvPr>
          <p:cNvSpPr/>
          <p:nvPr/>
        </p:nvSpPr>
        <p:spPr bwMode="auto">
          <a:xfrm rot="3600000">
            <a:off x="412319" y="-2254679"/>
            <a:ext cx="11367362" cy="11367360"/>
          </a:xfrm>
          <a:prstGeom prst="arc">
            <a:avLst>
              <a:gd name="adj1" fmla="val 4640343"/>
              <a:gd name="adj2" fmla="val 8874283"/>
            </a:avLst>
          </a:prstGeom>
          <a:noFill/>
          <a:ln w="952500" cap="flat" cmpd="sng" algn="ctr">
            <a:gradFill>
              <a:gsLst>
                <a:gs pos="100000">
                  <a:schemeClr val="accent2"/>
                </a:gs>
                <a:gs pos="0">
                  <a:schemeClr val="accent2">
                    <a:lumMod val="75000"/>
                  </a:schemeClr>
                </a:gs>
              </a:gsLst>
              <a:lin ang="0" scaled="0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Дуга 24">
            <a:extLst>
              <a:ext uri="{FF2B5EF4-FFF2-40B4-BE49-F238E27FC236}">
                <a16:creationId xmlns:a16="http://schemas.microsoft.com/office/drawing/2014/main" id="{2A932059-F943-480E-BA02-956B34060D1A}"/>
              </a:ext>
            </a:extLst>
          </p:cNvPr>
          <p:cNvSpPr/>
          <p:nvPr/>
        </p:nvSpPr>
        <p:spPr bwMode="auto">
          <a:xfrm rot="3600000">
            <a:off x="1337742" y="-1329258"/>
            <a:ext cx="9516517" cy="9516517"/>
          </a:xfrm>
          <a:prstGeom prst="arc">
            <a:avLst>
              <a:gd name="adj1" fmla="val 2616407"/>
              <a:gd name="adj2" fmla="val 12612573"/>
            </a:avLst>
          </a:prstGeom>
          <a:noFill/>
          <a:ln w="9525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Дуга 26">
            <a:extLst>
              <a:ext uri="{FF2B5EF4-FFF2-40B4-BE49-F238E27FC236}">
                <a16:creationId xmlns:a16="http://schemas.microsoft.com/office/drawing/2014/main" id="{259E656F-7DF7-4302-83B1-89FF45131507}"/>
              </a:ext>
            </a:extLst>
          </p:cNvPr>
          <p:cNvSpPr/>
          <p:nvPr userDrawn="1"/>
        </p:nvSpPr>
        <p:spPr bwMode="auto">
          <a:xfrm rot="3600000">
            <a:off x="-590550" y="-3257550"/>
            <a:ext cx="13373100" cy="13373100"/>
          </a:xfrm>
          <a:prstGeom prst="arc">
            <a:avLst>
              <a:gd name="adj1" fmla="val 9878533"/>
              <a:gd name="adj2" fmla="val 20724111"/>
            </a:avLst>
          </a:prstGeom>
          <a:noFill/>
          <a:ln w="9525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0" name="Текст 39">
            <a:extLst>
              <a:ext uri="{FF2B5EF4-FFF2-40B4-BE49-F238E27FC236}">
                <a16:creationId xmlns:a16="http://schemas.microsoft.com/office/drawing/2014/main" id="{8F572E13-DCA4-42FB-8A87-2C3147194C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8" y="302719"/>
            <a:ext cx="9272771" cy="135421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раздела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133BE75-A31E-402E-93D1-FF823C1D9D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9531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справа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76120" y="0"/>
            <a:ext cx="5015880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8651D85-208E-4EFB-B852-FE9A38347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6127751" cy="29796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id="{D3C38CB1-3CDA-4BA0-A85D-19817FD273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34720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95900" y="1089024"/>
            <a:ext cx="6588114" cy="5219701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28554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Пользовательский макет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E86DA874-5929-4AA1-A99E-2E61BE7F20EA}"/>
              </a:ext>
            </a:extLst>
          </p:cNvPr>
          <p:cNvSpPr/>
          <p:nvPr userDrawn="1"/>
        </p:nvSpPr>
        <p:spPr>
          <a:xfrm>
            <a:off x="0" y="2606474"/>
            <a:ext cx="1600250" cy="4251526"/>
          </a:xfrm>
          <a:custGeom>
            <a:avLst/>
            <a:gdLst>
              <a:gd name="connsiteX0" fmla="*/ 0 w 1600250"/>
              <a:gd name="connsiteY0" fmla="*/ 0 h 4251526"/>
              <a:gd name="connsiteX1" fmla="*/ 1600250 w 1600250"/>
              <a:gd name="connsiteY1" fmla="*/ 0 h 4251526"/>
              <a:gd name="connsiteX2" fmla="*/ 1600250 w 1600250"/>
              <a:gd name="connsiteY2" fmla="*/ 3227840 h 4251526"/>
              <a:gd name="connsiteX3" fmla="*/ 576564 w 1600250"/>
              <a:gd name="connsiteY3" fmla="*/ 4251526 h 4251526"/>
              <a:gd name="connsiteX4" fmla="*/ 0 w 1600250"/>
              <a:gd name="connsiteY4" fmla="*/ 4251526 h 4251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250" h="4251526">
                <a:moveTo>
                  <a:pt x="0" y="0"/>
                </a:moveTo>
                <a:lnTo>
                  <a:pt x="1600250" y="0"/>
                </a:lnTo>
                <a:lnTo>
                  <a:pt x="1600250" y="3227840"/>
                </a:lnTo>
                <a:lnTo>
                  <a:pt x="576564" y="4251526"/>
                </a:lnTo>
                <a:lnTo>
                  <a:pt x="0" y="4251526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DF71C1D4-9A88-44B1-9471-91C20B1BB2FF}"/>
              </a:ext>
            </a:extLst>
          </p:cNvPr>
          <p:cNvSpPr/>
          <p:nvPr userDrawn="1"/>
        </p:nvSpPr>
        <p:spPr>
          <a:xfrm>
            <a:off x="1600250" y="4220394"/>
            <a:ext cx="4841760" cy="2637607"/>
          </a:xfrm>
          <a:custGeom>
            <a:avLst/>
            <a:gdLst>
              <a:gd name="connsiteX0" fmla="*/ 1613920 w 4841760"/>
              <a:gd name="connsiteY0" fmla="*/ 0 h 2637607"/>
              <a:gd name="connsiteX1" fmla="*/ 4841760 w 4841760"/>
              <a:gd name="connsiteY1" fmla="*/ 0 h 2637607"/>
              <a:gd name="connsiteX2" fmla="*/ 4841760 w 4841760"/>
              <a:gd name="connsiteY2" fmla="*/ 2637607 h 2637607"/>
              <a:gd name="connsiteX3" fmla="*/ 3227840 w 4841760"/>
              <a:gd name="connsiteY3" fmla="*/ 2637607 h 2637607"/>
              <a:gd name="connsiteX4" fmla="*/ 3227840 w 4841760"/>
              <a:gd name="connsiteY4" fmla="*/ 1613920 h 2637607"/>
              <a:gd name="connsiteX5" fmla="*/ 0 w 4841760"/>
              <a:gd name="connsiteY5" fmla="*/ 1613920 h 26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41760" h="2637607">
                <a:moveTo>
                  <a:pt x="1613920" y="0"/>
                </a:moveTo>
                <a:lnTo>
                  <a:pt x="4841760" y="0"/>
                </a:lnTo>
                <a:lnTo>
                  <a:pt x="4841760" y="2637607"/>
                </a:lnTo>
                <a:lnTo>
                  <a:pt x="3227840" y="2637607"/>
                </a:lnTo>
                <a:lnTo>
                  <a:pt x="3227840" y="1613920"/>
                </a:lnTo>
                <a:lnTo>
                  <a:pt x="0" y="161392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980C4912-F120-4F90-A1EE-6BDAFE99CDF3}"/>
              </a:ext>
            </a:extLst>
          </p:cNvPr>
          <p:cNvSpPr/>
          <p:nvPr userDrawn="1"/>
        </p:nvSpPr>
        <p:spPr>
          <a:xfrm>
            <a:off x="4828089" y="992553"/>
            <a:ext cx="4841760" cy="4841759"/>
          </a:xfrm>
          <a:custGeom>
            <a:avLst/>
            <a:gdLst>
              <a:gd name="connsiteX0" fmla="*/ 4796790 w 4796790"/>
              <a:gd name="connsiteY0" fmla="*/ 0 h 4796789"/>
              <a:gd name="connsiteX1" fmla="*/ 1598930 w 4796790"/>
              <a:gd name="connsiteY1" fmla="*/ 0 h 4796789"/>
              <a:gd name="connsiteX2" fmla="*/ 0 w 4796790"/>
              <a:gd name="connsiteY2" fmla="*/ 1598930 h 4796789"/>
              <a:gd name="connsiteX3" fmla="*/ 3197860 w 4796790"/>
              <a:gd name="connsiteY3" fmla="*/ 1598930 h 4796789"/>
              <a:gd name="connsiteX4" fmla="*/ 3197860 w 4796790"/>
              <a:gd name="connsiteY4" fmla="*/ 4796790 h 4796789"/>
              <a:gd name="connsiteX5" fmla="*/ 4796790 w 4796790"/>
              <a:gd name="connsiteY5" fmla="*/ 3197860 h 479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90" h="4796789">
                <a:moveTo>
                  <a:pt x="4796790" y="0"/>
                </a:moveTo>
                <a:lnTo>
                  <a:pt x="1598930" y="0"/>
                </a:lnTo>
                <a:lnTo>
                  <a:pt x="0" y="1598930"/>
                </a:lnTo>
                <a:lnTo>
                  <a:pt x="3197860" y="1598930"/>
                </a:lnTo>
                <a:lnTo>
                  <a:pt x="3197860" y="4796790"/>
                </a:lnTo>
                <a:lnTo>
                  <a:pt x="4796790" y="319786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3FDF4C0F-85C4-474D-A1D2-555058C06A77}"/>
              </a:ext>
            </a:extLst>
          </p:cNvPr>
          <p:cNvSpPr/>
          <p:nvPr userDrawn="1"/>
        </p:nvSpPr>
        <p:spPr>
          <a:xfrm>
            <a:off x="-13671" y="29842"/>
            <a:ext cx="4841759" cy="4190551"/>
          </a:xfrm>
          <a:custGeom>
            <a:avLst/>
            <a:gdLst>
              <a:gd name="connsiteX0" fmla="*/ 953135 w 4796789"/>
              <a:gd name="connsiteY0" fmla="*/ 0 h 4151629"/>
              <a:gd name="connsiteX1" fmla="*/ 0 w 4796789"/>
              <a:gd name="connsiteY1" fmla="*/ 953770 h 4151629"/>
              <a:gd name="connsiteX2" fmla="*/ 3197860 w 4796789"/>
              <a:gd name="connsiteY2" fmla="*/ 953770 h 4151629"/>
              <a:gd name="connsiteX3" fmla="*/ 3197860 w 4796789"/>
              <a:gd name="connsiteY3" fmla="*/ 4151630 h 4151629"/>
              <a:gd name="connsiteX4" fmla="*/ 4796790 w 4796789"/>
              <a:gd name="connsiteY4" fmla="*/ 2552700 h 4151629"/>
              <a:gd name="connsiteX5" fmla="*/ 4796790 w 4796789"/>
              <a:gd name="connsiteY5" fmla="*/ 0 h 415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89" h="4151629">
                <a:moveTo>
                  <a:pt x="953135" y="0"/>
                </a:moveTo>
                <a:lnTo>
                  <a:pt x="0" y="953770"/>
                </a:lnTo>
                <a:lnTo>
                  <a:pt x="3197860" y="953770"/>
                </a:lnTo>
                <a:lnTo>
                  <a:pt x="3197860" y="4151630"/>
                </a:lnTo>
                <a:lnTo>
                  <a:pt x="4796790" y="2552700"/>
                </a:lnTo>
                <a:lnTo>
                  <a:pt x="479679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6503AECF-4CA5-43F0-9AF3-EA4A72E46E38}"/>
              </a:ext>
            </a:extLst>
          </p:cNvPr>
          <p:cNvSpPr/>
          <p:nvPr userDrawn="1"/>
        </p:nvSpPr>
        <p:spPr>
          <a:xfrm>
            <a:off x="9669849" y="2606474"/>
            <a:ext cx="2522151" cy="1613919"/>
          </a:xfrm>
          <a:custGeom>
            <a:avLst/>
            <a:gdLst>
              <a:gd name="connsiteX0" fmla="*/ 1598930 w 2498725"/>
              <a:gd name="connsiteY0" fmla="*/ 0 h 1598929"/>
              <a:gd name="connsiteX1" fmla="*/ 0 w 2498725"/>
              <a:gd name="connsiteY1" fmla="*/ 1598930 h 1598929"/>
              <a:gd name="connsiteX2" fmla="*/ 2498725 w 2498725"/>
              <a:gd name="connsiteY2" fmla="*/ 1598930 h 1598929"/>
              <a:gd name="connsiteX3" fmla="*/ 2498725 w 2498725"/>
              <a:gd name="connsiteY3" fmla="*/ 0 h 1598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8725" h="1598929">
                <a:moveTo>
                  <a:pt x="1598930" y="0"/>
                </a:moveTo>
                <a:lnTo>
                  <a:pt x="0" y="1598930"/>
                </a:lnTo>
                <a:lnTo>
                  <a:pt x="2498725" y="1598930"/>
                </a:lnTo>
                <a:lnTo>
                  <a:pt x="24987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8A42EDAC-972D-4561-8D17-435F67F7B38C}"/>
              </a:ext>
            </a:extLst>
          </p:cNvPr>
          <p:cNvSpPr/>
          <p:nvPr userDrawn="1"/>
        </p:nvSpPr>
        <p:spPr>
          <a:xfrm>
            <a:off x="11283769" y="29842"/>
            <a:ext cx="908230" cy="2576632"/>
          </a:xfrm>
          <a:custGeom>
            <a:avLst/>
            <a:gdLst>
              <a:gd name="connsiteX0" fmla="*/ 0 w 899794"/>
              <a:gd name="connsiteY0" fmla="*/ 0 h 2552700"/>
              <a:gd name="connsiteX1" fmla="*/ 0 w 899794"/>
              <a:gd name="connsiteY1" fmla="*/ 2552700 h 2552700"/>
              <a:gd name="connsiteX2" fmla="*/ 899795 w 899794"/>
              <a:gd name="connsiteY2" fmla="*/ 1652905 h 2552700"/>
              <a:gd name="connsiteX3" fmla="*/ 899795 w 899794"/>
              <a:gd name="connsiteY3" fmla="*/ 0 h 255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9794" h="2552700">
                <a:moveTo>
                  <a:pt x="0" y="0"/>
                </a:moveTo>
                <a:lnTo>
                  <a:pt x="0" y="2552700"/>
                </a:lnTo>
                <a:lnTo>
                  <a:pt x="899795" y="1652905"/>
                </a:lnTo>
                <a:lnTo>
                  <a:pt x="8997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7DA07329-2815-4181-9C0F-470DAA2099A3}"/>
              </a:ext>
            </a:extLst>
          </p:cNvPr>
          <p:cNvSpPr/>
          <p:nvPr userDrawn="1"/>
        </p:nvSpPr>
        <p:spPr>
          <a:xfrm>
            <a:off x="6442009" y="0"/>
            <a:ext cx="1007295" cy="1007295"/>
          </a:xfrm>
          <a:custGeom>
            <a:avLst/>
            <a:gdLst>
              <a:gd name="connsiteX0" fmla="*/ 0 w 1007295"/>
              <a:gd name="connsiteY0" fmla="*/ 0 h 1007295"/>
              <a:gd name="connsiteX1" fmla="*/ 1007295 w 1007295"/>
              <a:gd name="connsiteY1" fmla="*/ 0 h 1007295"/>
              <a:gd name="connsiteX2" fmla="*/ 0 w 1007295"/>
              <a:gd name="connsiteY2" fmla="*/ 1007295 h 1007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7295" h="1007295">
                <a:moveTo>
                  <a:pt x="0" y="0"/>
                </a:moveTo>
                <a:lnTo>
                  <a:pt x="1007295" y="0"/>
                </a:lnTo>
                <a:lnTo>
                  <a:pt x="0" y="1007295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2" name="Полилиния: фигура 21">
            <a:extLst>
              <a:ext uri="{FF2B5EF4-FFF2-40B4-BE49-F238E27FC236}">
                <a16:creationId xmlns:a16="http://schemas.microsoft.com/office/drawing/2014/main" id="{15551796-9430-44BB-9A13-B715C717E44B}"/>
              </a:ext>
            </a:extLst>
          </p:cNvPr>
          <p:cNvSpPr/>
          <p:nvPr userDrawn="1"/>
        </p:nvSpPr>
        <p:spPr>
          <a:xfrm>
            <a:off x="7032242" y="5834312"/>
            <a:ext cx="4251528" cy="1023688"/>
          </a:xfrm>
          <a:custGeom>
            <a:avLst/>
            <a:gdLst>
              <a:gd name="connsiteX0" fmla="*/ 1023688 w 4251528"/>
              <a:gd name="connsiteY0" fmla="*/ 0 h 1023688"/>
              <a:gd name="connsiteX1" fmla="*/ 4251528 w 4251528"/>
              <a:gd name="connsiteY1" fmla="*/ 0 h 1023688"/>
              <a:gd name="connsiteX2" fmla="*/ 4251528 w 4251528"/>
              <a:gd name="connsiteY2" fmla="*/ 1023688 h 1023688"/>
              <a:gd name="connsiteX3" fmla="*/ 0 w 4251528"/>
              <a:gd name="connsiteY3" fmla="*/ 1023688 h 1023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1528" h="1023688">
                <a:moveTo>
                  <a:pt x="1023688" y="0"/>
                </a:moveTo>
                <a:lnTo>
                  <a:pt x="4251528" y="0"/>
                </a:lnTo>
                <a:lnTo>
                  <a:pt x="4251528" y="1023688"/>
                </a:lnTo>
                <a:lnTo>
                  <a:pt x="0" y="1023688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19D409E-9FD1-43D8-BF51-65BF1B6787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BCCD663-0AE7-4EB7-9471-F1237F1B209B}"/>
              </a:ext>
            </a:extLst>
          </p:cNvPr>
          <p:cNvSpPr txBox="1">
            <a:spLocks/>
          </p:cNvSpPr>
          <p:nvPr userDrawn="1"/>
        </p:nvSpPr>
        <p:spPr>
          <a:xfrm>
            <a:off x="5771964" y="6561348"/>
            <a:ext cx="648072" cy="230864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9CAC58-44C9-4DC0-A6AF-0B4057C34224}" type="slidenum">
              <a:rPr lang="ru-RU" smtClean="0">
                <a:solidFill>
                  <a:schemeClr val="bg1"/>
                </a:solidFill>
              </a:rPr>
              <a:pPr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6353EBA0-AD4C-4F8F-9664-692632A1EE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28" name="Заголовок 12">
            <a:extLst>
              <a:ext uri="{FF2B5EF4-FFF2-40B4-BE49-F238E27FC236}">
                <a16:creationId xmlns:a16="http://schemas.microsoft.com/office/drawing/2014/main" id="{8D3E5806-E57D-47C6-9D92-8F1B66C22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629" y="1106128"/>
            <a:ext cx="6124585" cy="1116578"/>
          </a:xfrm>
        </p:spPr>
        <p:txBody>
          <a:bodyPr anchor="b">
            <a:noAutofit/>
          </a:bodyPr>
          <a:lstStyle>
            <a:lvl1pPr>
              <a:def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>
              <a:defRPr/>
            </a:pPr>
            <a:r>
              <a:rPr lang="ru-RU" sz="4000" b="1" dirty="0">
                <a:solidFill>
                  <a:srgbClr val="FFFFFF"/>
                </a:solidFill>
              </a:rPr>
              <a:t>Титульный слайд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Текст 19">
            <a:extLst>
              <a:ext uri="{FF2B5EF4-FFF2-40B4-BE49-F238E27FC236}">
                <a16:creationId xmlns:a16="http://schemas.microsoft.com/office/drawing/2014/main" id="{A0EF04F5-7844-4252-B6E1-7773238540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629" y="2394168"/>
            <a:ext cx="6124585" cy="233910"/>
          </a:xfrm>
        </p:spPr>
        <p:txBody>
          <a:bodyPr>
            <a:spAutoFit/>
          </a:bodyPr>
          <a:lstStyle>
            <a:lvl1pPr marL="180000" indent="-180000" algn="l" defTabSz="883649" rtl="0" eaLnBrk="0" fontAlgn="base" hangingPunct="0">
              <a:lnSpc>
                <a:spcPct val="95000"/>
              </a:lnSpc>
              <a:spcBef>
                <a:spcPts val="500"/>
              </a:spcBef>
              <a:spcAft>
                <a:spcPts val="200"/>
              </a:spcAft>
              <a:defRPr lang="ru-RU" sz="16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30" name="Прямая соединительная линия 9">
            <a:extLst>
              <a:ext uri="{FF2B5EF4-FFF2-40B4-BE49-F238E27FC236}">
                <a16:creationId xmlns:a16="http://schemas.microsoft.com/office/drawing/2014/main" id="{8F4FE799-1569-445B-A49F-10F0A429BC4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A3863158-CE6B-4333-BB35-9848BA3996BF}"/>
              </a:ext>
            </a:extLst>
          </p:cNvPr>
          <p:cNvSpPr txBox="1"/>
          <p:nvPr userDrawn="1"/>
        </p:nvSpPr>
        <p:spPr>
          <a:xfrm>
            <a:off x="407989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 dirty="0">
                <a:solidFill>
                  <a:schemeClr val="bg1"/>
                </a:solidFill>
              </a:rPr>
            </a:br>
            <a:r>
              <a:rPr lang="ru-RU" sz="500" dirty="0">
                <a:solidFill>
                  <a:schemeClr val="bg1"/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sp>
        <p:nvSpPr>
          <p:cNvPr id="33" name="Текст 3">
            <a:extLst>
              <a:ext uri="{FF2B5EF4-FFF2-40B4-BE49-F238E27FC236}">
                <a16:creationId xmlns:a16="http://schemas.microsoft.com/office/drawing/2014/main" id="{65C3E12B-7593-4486-AA98-9E0F1433DD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683423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руговая схема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id="{4A61B867-AAAA-4DAF-8D60-936029F21D1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291959" y="1956787"/>
            <a:ext cx="3642366" cy="3642366"/>
          </a:xfrm>
          <a:custGeom>
            <a:avLst/>
            <a:gdLst>
              <a:gd name="connsiteX0" fmla="*/ 858950 w 1717900"/>
              <a:gd name="connsiteY0" fmla="*/ 0 h 1717900"/>
              <a:gd name="connsiteX1" fmla="*/ 1717900 w 1717900"/>
              <a:gd name="connsiteY1" fmla="*/ 858950 h 1717900"/>
              <a:gd name="connsiteX2" fmla="*/ 858950 w 1717900"/>
              <a:gd name="connsiteY2" fmla="*/ 1717900 h 1717900"/>
              <a:gd name="connsiteX3" fmla="*/ 0 w 1717900"/>
              <a:gd name="connsiteY3" fmla="*/ 858950 h 1717900"/>
              <a:gd name="connsiteX4" fmla="*/ 858950 w 1717900"/>
              <a:gd name="connsiteY4" fmla="*/ 0 h 171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900" h="1717900">
                <a:moveTo>
                  <a:pt x="858950" y="0"/>
                </a:moveTo>
                <a:cubicBezTo>
                  <a:pt x="1333335" y="0"/>
                  <a:pt x="1717900" y="384565"/>
                  <a:pt x="1717900" y="858950"/>
                </a:cubicBezTo>
                <a:cubicBezTo>
                  <a:pt x="1717900" y="1333335"/>
                  <a:pt x="1333335" y="1717900"/>
                  <a:pt x="858950" y="1717900"/>
                </a:cubicBezTo>
                <a:cubicBezTo>
                  <a:pt x="384565" y="1717900"/>
                  <a:pt x="0" y="1333335"/>
                  <a:pt x="0" y="858950"/>
                </a:cubicBezTo>
                <a:cubicBezTo>
                  <a:pt x="0" y="384565"/>
                  <a:pt x="384565" y="0"/>
                  <a:pt x="85895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3425B92F-5C4B-4673-A604-90D9AD5F6E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3">
            <a:extLst>
              <a:ext uri="{FF2B5EF4-FFF2-40B4-BE49-F238E27FC236}">
                <a16:creationId xmlns:a16="http://schemas.microsoft.com/office/drawing/2014/main" id="{76BFD2CC-25DB-4092-A11F-B9D50400E2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66375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3475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00364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C1325F-6528-4978-BB9C-5A05716694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94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C1325F-6528-4978-BB9C-5A05716694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52053" y="6639224"/>
            <a:ext cx="12594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ru-RU" sz="816" smtClean="0">
                <a:solidFill>
                  <a:schemeClr val="accent6"/>
                </a:solidFill>
              </a:rPr>
              <a:pPr lvl="0"/>
              <a:t>‹#›</a:t>
            </a:fld>
            <a:endParaRPr lang="ru-RU" sz="816" dirty="0">
              <a:solidFill>
                <a:schemeClr val="accent6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ru-RU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77398489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2D3F65-283F-428C-8DB3-E89E0CDC51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FCBBFE-7EE1-4714-8C43-34BFEC0FFA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240DD65E-4CBC-4B4C-BAB9-2217EA553CF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652053" y="6639224"/>
            <a:ext cx="12594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ru-RU" sz="816" smtClean="0">
                <a:solidFill>
                  <a:schemeClr val="accent6"/>
                </a:solidFill>
              </a:rPr>
              <a:pPr lvl="0"/>
              <a:t>‹#›</a:t>
            </a:fld>
            <a:endParaRPr lang="ru-RU" sz="816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82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C0AFF1-2B46-4258-A4CA-A92AD370FF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A1F2947E-172D-409A-A8A2-C87C8F1FD89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652053" y="6639224"/>
            <a:ext cx="12594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ru-RU" sz="816" smtClean="0">
                <a:solidFill>
                  <a:schemeClr val="accent6"/>
                </a:solidFill>
              </a:rPr>
              <a:pPr lvl="0"/>
              <a:t>‹#›</a:t>
            </a:fld>
            <a:endParaRPr lang="ru-RU" sz="816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311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98628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3179676" y="6507280"/>
            <a:ext cx="7272808" cy="180975"/>
          </a:xfrm>
        </p:spPr>
        <p:txBody>
          <a:bodyPr lIns="72000" tIns="72000" rIns="72000" bIns="72000" anchor="ctr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0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Источники</a:t>
            </a:r>
            <a:r>
              <a:rPr lang="en-US" dirty="0"/>
              <a:t>: </a:t>
            </a:r>
            <a:endParaRPr lang="ru-RU" dirty="0"/>
          </a:p>
        </p:txBody>
      </p:sp>
      <p:sp>
        <p:nvSpPr>
          <p:cNvPr id="10" name="Объект 1"/>
          <p:cNvSpPr>
            <a:spLocks noGrp="1"/>
          </p:cNvSpPr>
          <p:nvPr>
            <p:ph idx="22"/>
          </p:nvPr>
        </p:nvSpPr>
        <p:spPr>
          <a:xfrm>
            <a:off x="407988" y="1594699"/>
            <a:ext cx="3600000" cy="4467813"/>
          </a:xfrm>
        </p:spPr>
        <p:txBody>
          <a:bodyPr lIns="72000" tIns="72000" rIns="72000" bIns="72000" anchor="t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400"/>
            </a:lvl1pPr>
          </a:lstStyle>
          <a:p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5"/>
          </p:nvPr>
        </p:nvSpPr>
        <p:spPr>
          <a:xfrm>
            <a:off x="407988" y="1094796"/>
            <a:ext cx="3600000" cy="401942"/>
          </a:xfrm>
        </p:spPr>
        <p:txBody>
          <a:bodyPr lIns="72000" tIns="72000" rIns="72000" bIns="72000" anchor="ctr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400"/>
            </a:lvl1pPr>
          </a:lstStyle>
          <a:p>
            <a:endParaRPr lang="ru-RU" dirty="0"/>
          </a:p>
        </p:txBody>
      </p:sp>
      <p:sp>
        <p:nvSpPr>
          <p:cNvPr id="14" name="Объект 1"/>
          <p:cNvSpPr>
            <a:spLocks noGrp="1"/>
          </p:cNvSpPr>
          <p:nvPr>
            <p:ph idx="26"/>
          </p:nvPr>
        </p:nvSpPr>
        <p:spPr>
          <a:xfrm>
            <a:off x="4295061" y="1594699"/>
            <a:ext cx="3600000" cy="4467813"/>
          </a:xfrm>
        </p:spPr>
        <p:txBody>
          <a:bodyPr lIns="72000" tIns="72000" rIns="72000" bIns="72000" anchor="t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400"/>
            </a:lvl1pPr>
          </a:lstStyle>
          <a:p>
            <a:endParaRPr lang="ru-RU" dirty="0"/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27"/>
          </p:nvPr>
        </p:nvSpPr>
        <p:spPr>
          <a:xfrm>
            <a:off x="4295061" y="1094796"/>
            <a:ext cx="3600000" cy="401942"/>
          </a:xfrm>
        </p:spPr>
        <p:txBody>
          <a:bodyPr lIns="72000" tIns="72000" rIns="72000" bIns="72000" anchor="ctr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400"/>
            </a:lvl1pPr>
          </a:lstStyle>
          <a:p>
            <a:endParaRPr lang="ru-RU" dirty="0"/>
          </a:p>
        </p:txBody>
      </p:sp>
      <p:sp>
        <p:nvSpPr>
          <p:cNvPr id="16" name="Объект 1"/>
          <p:cNvSpPr>
            <a:spLocks noGrp="1"/>
          </p:cNvSpPr>
          <p:nvPr>
            <p:ph idx="28"/>
          </p:nvPr>
        </p:nvSpPr>
        <p:spPr>
          <a:xfrm>
            <a:off x="8182132" y="1594699"/>
            <a:ext cx="3600000" cy="4467813"/>
          </a:xfrm>
        </p:spPr>
        <p:txBody>
          <a:bodyPr lIns="72000" tIns="72000" rIns="72000" bIns="72000" anchor="t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400"/>
            </a:lvl1pPr>
          </a:lstStyle>
          <a:p>
            <a:endParaRPr lang="ru-RU" dirty="0"/>
          </a:p>
        </p:txBody>
      </p:sp>
      <p:sp>
        <p:nvSpPr>
          <p:cNvPr id="17" name="Текст 3"/>
          <p:cNvSpPr>
            <a:spLocks noGrp="1"/>
          </p:cNvSpPr>
          <p:nvPr>
            <p:ph type="body" sz="quarter" idx="29"/>
          </p:nvPr>
        </p:nvSpPr>
        <p:spPr>
          <a:xfrm>
            <a:off x="8182132" y="1094796"/>
            <a:ext cx="3600000" cy="401942"/>
          </a:xfrm>
        </p:spPr>
        <p:txBody>
          <a:bodyPr lIns="72000" tIns="72000" rIns="72000" bIns="72000" anchor="ctr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400"/>
            </a:lvl1pPr>
          </a:lstStyle>
          <a:p>
            <a:endParaRPr lang="ru-RU" dirty="0"/>
          </a:p>
        </p:txBody>
      </p:sp>
      <p:sp>
        <p:nvSpPr>
          <p:cNvPr id="18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407988" y="6194408"/>
            <a:ext cx="11376012" cy="180975"/>
          </a:xfrm>
        </p:spPr>
        <p:txBody>
          <a:bodyPr lIns="72000" tIns="72000" rIns="72000" bIns="72000" anchor="ctr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1) C</a:t>
            </a:r>
            <a:r>
              <a:rPr lang="ru-RU" dirty="0"/>
              <a:t>носка</a:t>
            </a:r>
          </a:p>
        </p:txBody>
      </p:sp>
      <p:cxnSp>
        <p:nvCxnSpPr>
          <p:cNvPr id="12" name="Прямая соединительная линия 11"/>
          <p:cNvCxnSpPr/>
          <p:nvPr userDrawn="1"/>
        </p:nvCxnSpPr>
        <p:spPr bwMode="auto">
          <a:xfrm>
            <a:off x="407988" y="1496738"/>
            <a:ext cx="3600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Прямая соединительная линия 12"/>
          <p:cNvCxnSpPr/>
          <p:nvPr userDrawn="1"/>
        </p:nvCxnSpPr>
        <p:spPr bwMode="auto">
          <a:xfrm>
            <a:off x="4295061" y="1496738"/>
            <a:ext cx="3600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Прямая соединительная линия 18"/>
          <p:cNvCxnSpPr/>
          <p:nvPr userDrawn="1"/>
        </p:nvCxnSpPr>
        <p:spPr bwMode="auto">
          <a:xfrm>
            <a:off x="8182132" y="1496738"/>
            <a:ext cx="3600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Прямоугольник 2"/>
          <p:cNvSpPr/>
          <p:nvPr userDrawn="1"/>
        </p:nvSpPr>
        <p:spPr>
          <a:xfrm>
            <a:off x="10666017" y="6507280"/>
            <a:ext cx="314361" cy="2223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3B9CAC58-44C9-4DC0-A6AF-0B4057C34224}" type="slidenum">
              <a:rPr lang="ru-RU" sz="816" smtClean="0"/>
              <a:pPr/>
              <a:t>‹#›</a:t>
            </a:fld>
            <a:endParaRPr lang="ru-RU" sz="1837" dirty="0"/>
          </a:p>
        </p:txBody>
      </p:sp>
    </p:spTree>
    <p:extLst>
      <p:ext uri="{BB962C8B-B14F-4D97-AF65-F5344CB8AC3E}">
        <p14:creationId xmlns:p14="http://schemas.microsoft.com/office/powerpoint/2010/main" val="36863173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Рисунок 4"/>
          <p:cNvSpPr>
            <a:spLocks noGrp="1"/>
          </p:cNvSpPr>
          <p:nvPr>
            <p:ph type="pic" idx="13"/>
          </p:nvPr>
        </p:nvSpPr>
        <p:spPr>
          <a:xfrm>
            <a:off x="1" y="1"/>
            <a:ext cx="12192000" cy="6858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03831847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13319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110192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95901" y="1089025"/>
            <a:ext cx="6588114" cy="251222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5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90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513863"/>
            <a:ext cx="10379284" cy="314028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209149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C1325F-6528-4978-BB9C-5A05716694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61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C1325F-6528-4978-BB9C-5A05716694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52053" y="6639224"/>
            <a:ext cx="12594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ru-RU" sz="816" smtClean="0">
                <a:solidFill>
                  <a:schemeClr val="accent6"/>
                </a:solidFill>
              </a:rPr>
              <a:pPr lvl="0"/>
              <a:t>‹#›</a:t>
            </a:fld>
            <a:endParaRPr lang="ru-RU" sz="816" dirty="0">
              <a:solidFill>
                <a:schemeClr val="accent6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ru-RU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10222450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2D3F65-283F-428C-8DB3-E89E0CDC51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FCBBFE-7EE1-4714-8C43-34BFEC0FFA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240DD65E-4CBC-4B4C-BAB9-2217EA553CF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652053" y="6639224"/>
            <a:ext cx="12594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ru-RU" sz="816" smtClean="0">
                <a:solidFill>
                  <a:schemeClr val="accent6"/>
                </a:solidFill>
              </a:rPr>
              <a:pPr lvl="0"/>
              <a:t>‹#›</a:t>
            </a:fld>
            <a:endParaRPr lang="ru-RU" sz="816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0158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C0AFF1-2B46-4258-A4CA-A92AD370FF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A1F2947E-172D-409A-A8A2-C87C8F1FD89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652053" y="6639224"/>
            <a:ext cx="12594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ru-RU" sz="816" smtClean="0">
                <a:solidFill>
                  <a:schemeClr val="accent6"/>
                </a:solidFill>
              </a:rPr>
              <a:pPr lvl="0"/>
              <a:t>‹#›</a:t>
            </a:fld>
            <a:endParaRPr lang="ru-RU" sz="816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519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3179676" y="6507280"/>
            <a:ext cx="7272808" cy="180975"/>
          </a:xfrm>
        </p:spPr>
        <p:txBody>
          <a:bodyPr lIns="72000" tIns="72000" rIns="72000" bIns="72000" anchor="ctr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0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Источники</a:t>
            </a:r>
            <a:r>
              <a:rPr lang="en-US" dirty="0"/>
              <a:t>: </a:t>
            </a:r>
            <a:endParaRPr lang="ru-RU" dirty="0"/>
          </a:p>
        </p:txBody>
      </p:sp>
      <p:sp>
        <p:nvSpPr>
          <p:cNvPr id="10" name="Объект 1"/>
          <p:cNvSpPr>
            <a:spLocks noGrp="1"/>
          </p:cNvSpPr>
          <p:nvPr>
            <p:ph idx="22"/>
          </p:nvPr>
        </p:nvSpPr>
        <p:spPr>
          <a:xfrm>
            <a:off x="407988" y="1594699"/>
            <a:ext cx="3600000" cy="4467813"/>
          </a:xfrm>
        </p:spPr>
        <p:txBody>
          <a:bodyPr lIns="72000" tIns="72000" rIns="72000" bIns="72000" anchor="t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400"/>
            </a:lvl1pPr>
          </a:lstStyle>
          <a:p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5"/>
          </p:nvPr>
        </p:nvSpPr>
        <p:spPr>
          <a:xfrm>
            <a:off x="407988" y="1094796"/>
            <a:ext cx="3600000" cy="401942"/>
          </a:xfrm>
        </p:spPr>
        <p:txBody>
          <a:bodyPr lIns="72000" tIns="72000" rIns="72000" bIns="72000" anchor="ctr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400"/>
            </a:lvl1pPr>
          </a:lstStyle>
          <a:p>
            <a:endParaRPr lang="ru-RU" dirty="0"/>
          </a:p>
        </p:txBody>
      </p:sp>
      <p:sp>
        <p:nvSpPr>
          <p:cNvPr id="14" name="Объект 1"/>
          <p:cNvSpPr>
            <a:spLocks noGrp="1"/>
          </p:cNvSpPr>
          <p:nvPr>
            <p:ph idx="26"/>
          </p:nvPr>
        </p:nvSpPr>
        <p:spPr>
          <a:xfrm>
            <a:off x="4295061" y="1594699"/>
            <a:ext cx="3600000" cy="4467813"/>
          </a:xfrm>
        </p:spPr>
        <p:txBody>
          <a:bodyPr lIns="72000" tIns="72000" rIns="72000" bIns="72000" anchor="t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400"/>
            </a:lvl1pPr>
          </a:lstStyle>
          <a:p>
            <a:endParaRPr lang="ru-RU" dirty="0"/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27"/>
          </p:nvPr>
        </p:nvSpPr>
        <p:spPr>
          <a:xfrm>
            <a:off x="4295061" y="1094796"/>
            <a:ext cx="3600000" cy="401942"/>
          </a:xfrm>
        </p:spPr>
        <p:txBody>
          <a:bodyPr lIns="72000" tIns="72000" rIns="72000" bIns="72000" anchor="ctr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400"/>
            </a:lvl1pPr>
          </a:lstStyle>
          <a:p>
            <a:endParaRPr lang="ru-RU" dirty="0"/>
          </a:p>
        </p:txBody>
      </p:sp>
      <p:sp>
        <p:nvSpPr>
          <p:cNvPr id="16" name="Объект 1"/>
          <p:cNvSpPr>
            <a:spLocks noGrp="1"/>
          </p:cNvSpPr>
          <p:nvPr>
            <p:ph idx="28"/>
          </p:nvPr>
        </p:nvSpPr>
        <p:spPr>
          <a:xfrm>
            <a:off x="8182132" y="1594699"/>
            <a:ext cx="3600000" cy="4467813"/>
          </a:xfrm>
        </p:spPr>
        <p:txBody>
          <a:bodyPr lIns="72000" tIns="72000" rIns="72000" bIns="72000" anchor="t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400"/>
            </a:lvl1pPr>
          </a:lstStyle>
          <a:p>
            <a:endParaRPr lang="ru-RU" dirty="0"/>
          </a:p>
        </p:txBody>
      </p:sp>
      <p:sp>
        <p:nvSpPr>
          <p:cNvPr id="17" name="Текст 3"/>
          <p:cNvSpPr>
            <a:spLocks noGrp="1"/>
          </p:cNvSpPr>
          <p:nvPr>
            <p:ph type="body" sz="quarter" idx="29"/>
          </p:nvPr>
        </p:nvSpPr>
        <p:spPr>
          <a:xfrm>
            <a:off x="8182132" y="1094796"/>
            <a:ext cx="3600000" cy="401942"/>
          </a:xfrm>
        </p:spPr>
        <p:txBody>
          <a:bodyPr lIns="72000" tIns="72000" rIns="72000" bIns="72000" anchor="ctr">
            <a:norm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400"/>
            </a:lvl1pPr>
          </a:lstStyle>
          <a:p>
            <a:endParaRPr lang="ru-RU" dirty="0"/>
          </a:p>
        </p:txBody>
      </p:sp>
      <p:sp>
        <p:nvSpPr>
          <p:cNvPr id="18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407988" y="6194408"/>
            <a:ext cx="11376012" cy="180975"/>
          </a:xfrm>
        </p:spPr>
        <p:txBody>
          <a:bodyPr lIns="72000" tIns="72000" rIns="72000" bIns="72000" anchor="ctr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1) C</a:t>
            </a:r>
            <a:r>
              <a:rPr lang="ru-RU" dirty="0"/>
              <a:t>носка</a:t>
            </a:r>
          </a:p>
        </p:txBody>
      </p:sp>
      <p:cxnSp>
        <p:nvCxnSpPr>
          <p:cNvPr id="12" name="Прямая соединительная линия 11"/>
          <p:cNvCxnSpPr/>
          <p:nvPr userDrawn="1"/>
        </p:nvCxnSpPr>
        <p:spPr bwMode="auto">
          <a:xfrm>
            <a:off x="407988" y="1496738"/>
            <a:ext cx="3600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Прямая соединительная линия 12"/>
          <p:cNvCxnSpPr/>
          <p:nvPr userDrawn="1"/>
        </p:nvCxnSpPr>
        <p:spPr bwMode="auto">
          <a:xfrm>
            <a:off x="4295061" y="1496738"/>
            <a:ext cx="3600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Прямая соединительная линия 18"/>
          <p:cNvCxnSpPr/>
          <p:nvPr userDrawn="1"/>
        </p:nvCxnSpPr>
        <p:spPr bwMode="auto">
          <a:xfrm>
            <a:off x="8182132" y="1496738"/>
            <a:ext cx="3600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Прямоугольник 2"/>
          <p:cNvSpPr/>
          <p:nvPr userDrawn="1"/>
        </p:nvSpPr>
        <p:spPr>
          <a:xfrm>
            <a:off x="10666017" y="6507280"/>
            <a:ext cx="314361" cy="2223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3B9CAC58-44C9-4DC0-A6AF-0B4057C34224}" type="slidenum">
              <a:rPr lang="ru-RU" sz="816" smtClean="0"/>
              <a:pPr/>
              <a:t>‹#›</a:t>
            </a:fld>
            <a:endParaRPr lang="ru-RU" sz="1837" dirty="0"/>
          </a:p>
        </p:txBody>
      </p:sp>
    </p:spTree>
    <p:extLst>
      <p:ext uri="{BB962C8B-B14F-4D97-AF65-F5344CB8AC3E}">
        <p14:creationId xmlns:p14="http://schemas.microsoft.com/office/powerpoint/2010/main" val="30380131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Слайд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9"/>
          <p:cNvSpPr txBox="1"/>
          <p:nvPr/>
        </p:nvSpPr>
        <p:spPr>
          <a:xfrm>
            <a:off x="407989" y="6601618"/>
            <a:ext cx="4679899" cy="1503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spAutoFit/>
          </a:bodyPr>
          <a:lstStyle/>
          <a:p>
            <a:pPr defTabSz="883648">
              <a:spcBef>
                <a:spcPts val="100"/>
              </a:spcBef>
              <a:defRPr sz="500">
                <a:solidFill>
                  <a:srgbClr val="404040"/>
                </a:solidFill>
              </a:defRPr>
            </a:pPr>
            <a:r>
              <a:t>Любое несанкционированное копирование, раскрытие или распространение материалов, </a:t>
            </a:r>
            <a:br/>
            <a:r>
              <a:t>содержащихся в данном документе (или приложениях к нему), строго запрещено.</a:t>
            </a:r>
          </a:p>
        </p:txBody>
      </p:sp>
      <p:sp>
        <p:nvSpPr>
          <p:cNvPr id="12" name="Прямая соединительная линия 9"/>
          <p:cNvSpPr/>
          <p:nvPr/>
        </p:nvSpPr>
        <p:spPr>
          <a:xfrm>
            <a:off x="407999" y="6489339"/>
            <a:ext cx="11376002" cy="1"/>
          </a:xfrm>
          <a:prstGeom prst="line">
            <a:avLst/>
          </a:prstGeom>
          <a:solidFill>
            <a:schemeClr val="accent1"/>
          </a:solidFill>
          <a:ln w="76200">
            <a:solidFill>
              <a:schemeClr val="accent2"/>
            </a:solidFill>
          </a:ln>
        </p:spPr>
        <p:txBody>
          <a:bodyPr lIns="45719" rIns="45719"/>
          <a:lstStyle/>
          <a:p>
            <a:endParaRPr/>
          </a:p>
        </p:txBody>
      </p:sp>
      <p:pic>
        <p:nvPicPr>
          <p:cNvPr id="13" name="Рисунок 3" descr="Рисунок 3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1299591" y="302718"/>
            <a:ext cx="490773" cy="490773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Рисунок 8"/>
          <p:cNvSpPr>
            <a:spLocks noGrp="1"/>
          </p:cNvSpPr>
          <p:nvPr>
            <p:ph type="pic" sz="half" idx="21"/>
          </p:nvPr>
        </p:nvSpPr>
        <p:spPr>
          <a:xfrm>
            <a:off x="6420036" y="1089025"/>
            <a:ext cx="5351339" cy="52197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019018" y="6609007"/>
            <a:ext cx="153964" cy="1355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D0D0D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07987" y="399123"/>
            <a:ext cx="10379286" cy="2979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17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0920535" y="6595988"/>
            <a:ext cx="863477" cy="161584"/>
          </a:xfrm>
          <a:prstGeom prst="rect">
            <a:avLst/>
          </a:prstGeom>
        </p:spPr>
        <p:txBody>
          <a:bodyPr/>
          <a:lstStyle>
            <a:lvl1pPr marL="331184" indent="-331184" algn="r">
              <a:buSzTx/>
              <a:buNone/>
              <a:defRPr sz="1000">
                <a:solidFill>
                  <a:srgbClr val="0D0D0D"/>
                </a:solidFill>
              </a:defRPr>
            </a:lvl1pPr>
            <a:lvl2pPr marL="672139" indent="-229582" algn="r">
              <a:defRPr sz="1000">
                <a:solidFill>
                  <a:srgbClr val="0D0D0D"/>
                </a:solidFill>
              </a:defRPr>
            </a:lvl2pPr>
            <a:lvl3pPr marL="1068048" indent="-184399" algn="r">
              <a:defRPr sz="1000">
                <a:solidFill>
                  <a:srgbClr val="0D0D0D"/>
                </a:solidFill>
              </a:defRPr>
            </a:lvl3pPr>
            <a:lvl4pPr marL="1527368" indent="-201162" algn="r">
              <a:defRPr sz="1000">
                <a:solidFill>
                  <a:srgbClr val="0D0D0D"/>
                </a:solidFill>
              </a:defRPr>
            </a:lvl4pPr>
            <a:lvl5pPr marL="1969925" indent="-201162" algn="r">
              <a:defRPr sz="1000">
                <a:solidFill>
                  <a:srgbClr val="0D0D0D"/>
                </a:solidFill>
              </a:defRPr>
            </a:lvl5pPr>
          </a:lstStyle>
          <a:p>
            <a:r>
              <a:t>##.##.####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</p:spTree>
    <p:extLst>
      <p:ext uri="{BB962C8B-B14F-4D97-AF65-F5344CB8AC3E}">
        <p14:creationId xmlns:p14="http://schemas.microsoft.com/office/powerpoint/2010/main" val="828956865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54749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8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29364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93865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в 1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9"/>
          <p:cNvSpPr txBox="1"/>
          <p:nvPr/>
        </p:nvSpPr>
        <p:spPr>
          <a:xfrm>
            <a:off x="407989" y="6601618"/>
            <a:ext cx="4679899" cy="1503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spAutoFit/>
          </a:bodyPr>
          <a:lstStyle/>
          <a:p>
            <a:pPr defTabSz="883648">
              <a:spcBef>
                <a:spcPts val="100"/>
              </a:spcBef>
              <a:defRPr sz="500">
                <a:solidFill>
                  <a:srgbClr val="404040"/>
                </a:solidFill>
              </a:defRPr>
            </a:pPr>
            <a:r>
              <a:t>Любое несанкционированное копирование, раскрытие или распространение материалов, </a:t>
            </a:r>
            <a:br/>
            <a:r>
              <a:t>содержащихся в данном документе (или приложениях к нему), строго запрещено.</a:t>
            </a:r>
          </a:p>
        </p:txBody>
      </p:sp>
      <p:sp>
        <p:nvSpPr>
          <p:cNvPr id="25" name="Прямая соединительная линия 9"/>
          <p:cNvSpPr/>
          <p:nvPr/>
        </p:nvSpPr>
        <p:spPr>
          <a:xfrm>
            <a:off x="407999" y="6489339"/>
            <a:ext cx="11376002" cy="1"/>
          </a:xfrm>
          <a:prstGeom prst="line">
            <a:avLst/>
          </a:prstGeom>
          <a:solidFill>
            <a:schemeClr val="accent1"/>
          </a:solidFill>
          <a:ln w="76200">
            <a:solidFill>
              <a:schemeClr val="accent2"/>
            </a:solidFill>
          </a:ln>
        </p:spPr>
        <p:txBody>
          <a:bodyPr lIns="45719" rIns="45719"/>
          <a:lstStyle/>
          <a:p>
            <a:endParaRPr/>
          </a:p>
        </p:txBody>
      </p:sp>
      <p:pic>
        <p:nvPicPr>
          <p:cNvPr id="26" name="Рисунок 3" descr="Рисунок 3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1299591" y="302718"/>
            <a:ext cx="490773" cy="490773"/>
          </a:xfrm>
          <a:prstGeom prst="rect">
            <a:avLst/>
          </a:prstGeom>
          <a:ln w="12700">
            <a:miter lim="400000"/>
          </a:ln>
        </p:spPr>
      </p:pic>
      <p:sp>
        <p:nvSpPr>
          <p:cNvPr id="2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019018" y="6609007"/>
            <a:ext cx="153964" cy="1355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D0D0D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07987" y="268318"/>
            <a:ext cx="10379286" cy="55957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29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0920535" y="6595988"/>
            <a:ext cx="863477" cy="161584"/>
          </a:xfrm>
          <a:prstGeom prst="rect">
            <a:avLst/>
          </a:prstGeom>
        </p:spPr>
        <p:txBody>
          <a:bodyPr/>
          <a:lstStyle>
            <a:lvl1pPr marL="331184" indent="-331184" algn="r">
              <a:buSzTx/>
              <a:buNone/>
              <a:defRPr sz="1000">
                <a:solidFill>
                  <a:srgbClr val="0D0D0D"/>
                </a:solidFill>
              </a:defRPr>
            </a:lvl1pPr>
            <a:lvl2pPr marL="672139" indent="-229582" algn="r">
              <a:defRPr sz="1000">
                <a:solidFill>
                  <a:srgbClr val="0D0D0D"/>
                </a:solidFill>
              </a:defRPr>
            </a:lvl2pPr>
            <a:lvl3pPr marL="1068048" indent="-184399" algn="r">
              <a:defRPr sz="1000">
                <a:solidFill>
                  <a:srgbClr val="0D0D0D"/>
                </a:solidFill>
              </a:defRPr>
            </a:lvl3pPr>
            <a:lvl4pPr marL="1527368" indent="-201162" algn="r">
              <a:defRPr sz="1000">
                <a:solidFill>
                  <a:srgbClr val="0D0D0D"/>
                </a:solidFill>
              </a:defRPr>
            </a:lvl4pPr>
            <a:lvl5pPr marL="1969925" indent="-201162" algn="r">
              <a:defRPr sz="1000">
                <a:solidFill>
                  <a:srgbClr val="0D0D0D"/>
                </a:solidFill>
              </a:defRPr>
            </a:lvl5pPr>
          </a:lstStyle>
          <a:p>
            <a:r>
              <a:t>##.##.####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</p:spTree>
    <p:extLst>
      <p:ext uri="{BB962C8B-B14F-4D97-AF65-F5344CB8AC3E}">
        <p14:creationId xmlns:p14="http://schemas.microsoft.com/office/powerpoint/2010/main" val="1247057454"/>
      </p:ext>
    </p:extLst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Click to edit Master title style"/>
          <p:cNvSpPr txBox="1">
            <a:spLocks noGrp="1"/>
          </p:cNvSpPr>
          <p:nvPr>
            <p:ph type="title" hasCustomPrompt="1"/>
          </p:nvPr>
        </p:nvSpPr>
        <p:spPr>
          <a:xfrm>
            <a:off x="554734" y="226624"/>
            <a:ext cx="10152000" cy="677108"/>
          </a:xfrm>
          <a:prstGeom prst="rect">
            <a:avLst/>
          </a:prstGeom>
        </p:spPr>
        <p:txBody>
          <a:bodyPr anchor="b">
            <a:normAutofit/>
          </a:bodyPr>
          <a:lstStyle>
            <a:lvl1pPr defTabSz="914400">
              <a:lnSpc>
                <a:spcPct val="100000"/>
              </a:lnSpc>
              <a:defRPr sz="2200">
                <a:solidFill>
                  <a:srgbClr val="808080"/>
                </a:solidFill>
                <a:latin typeface="Segoe UI"/>
                <a:ea typeface="Segoe UI"/>
                <a:cs typeface="Segoe UI"/>
                <a:sym typeface="Segoe UI"/>
              </a:defRPr>
            </a:lvl1pPr>
          </a:lstStyle>
          <a:p>
            <a:r>
              <a:t>Click to edit Master title style</a:t>
            </a:r>
          </a:p>
        </p:txBody>
      </p:sp>
      <p:sp>
        <p:nvSpPr>
          <p:cNvPr id="7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54736" y="958596"/>
            <a:ext cx="11082529" cy="246222"/>
          </a:xfrm>
          <a:prstGeom prst="rect">
            <a:avLst/>
          </a:prstGeom>
        </p:spPr>
        <p:txBody>
          <a:bodyPr/>
          <a:lstStyle>
            <a:lvl1pPr marL="0" indent="0" defTabSz="914400">
              <a:spcBef>
                <a:spcPts val="300"/>
              </a:spcBef>
              <a:buFont typeface="Verdana"/>
              <a:buChar char="​"/>
              <a:defRPr sz="1600">
                <a:solidFill>
                  <a:srgbClr val="000000"/>
                </a:solidFill>
                <a:latin typeface="Segoe UI"/>
                <a:ea typeface="Segoe UI"/>
                <a:cs typeface="Segoe UI"/>
                <a:sym typeface="Segoe UI"/>
              </a:defRPr>
            </a:lvl1pPr>
            <a:lvl2pPr marL="262795" indent="-259195" defTabSz="914400">
              <a:spcBef>
                <a:spcPts val="300"/>
              </a:spcBef>
              <a:buSzPct val="110000"/>
              <a:buFont typeface="Verdana"/>
              <a:buChar char="•"/>
              <a:defRPr sz="1600">
                <a:solidFill>
                  <a:srgbClr val="000000"/>
                </a:solidFill>
                <a:latin typeface="Segoe UI"/>
                <a:ea typeface="Segoe UI"/>
                <a:cs typeface="Segoe UI"/>
                <a:sym typeface="Segoe UI"/>
              </a:defRPr>
            </a:lvl2pPr>
            <a:lvl3pPr marL="473649" indent="-246853" defTabSz="914400">
              <a:spcBef>
                <a:spcPts val="300"/>
              </a:spcBef>
              <a:buSzPct val="110000"/>
              <a:buFont typeface="Verdana"/>
              <a:buChar char="‒"/>
              <a:defRPr sz="1600">
                <a:solidFill>
                  <a:srgbClr val="000000"/>
                </a:solidFill>
                <a:latin typeface="Segoe UI"/>
                <a:ea typeface="Segoe UI"/>
                <a:cs typeface="Segoe UI"/>
                <a:sym typeface="Segoe UI"/>
              </a:defRPr>
            </a:lvl3pPr>
            <a:lvl4pPr marL="619189" indent="-172797" defTabSz="914400">
              <a:spcBef>
                <a:spcPts val="300"/>
              </a:spcBef>
              <a:buFont typeface="Verdana"/>
              <a:buChar char="•"/>
              <a:defRPr sz="1600">
                <a:solidFill>
                  <a:srgbClr val="000000"/>
                </a:solidFill>
                <a:latin typeface="Segoe UI"/>
                <a:ea typeface="Segoe UI"/>
                <a:cs typeface="Segoe UI"/>
                <a:sym typeface="Segoe UI"/>
              </a:defRPr>
            </a:lvl4pPr>
            <a:lvl5pPr marL="838272" indent="-168683" defTabSz="914400">
              <a:spcBef>
                <a:spcPts val="300"/>
              </a:spcBef>
              <a:buFont typeface="Verdana"/>
              <a:buChar char="̶"/>
              <a:defRPr sz="1600">
                <a:solidFill>
                  <a:srgbClr val="000000"/>
                </a:solidFill>
                <a:latin typeface="Segoe UI"/>
                <a:ea typeface="Segoe UI"/>
                <a:cs typeface="Segoe UI"/>
                <a:sym typeface="Segoe U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9" name="1. On-page tracker"/>
          <p:cNvSpPr>
            <a:spLocks noGrp="1"/>
          </p:cNvSpPr>
          <p:nvPr>
            <p:ph type="body" sz="quarter" idx="21" hasCustomPrompt="1"/>
          </p:nvPr>
        </p:nvSpPr>
        <p:spPr>
          <a:xfrm>
            <a:off x="554735" y="41596"/>
            <a:ext cx="3843338" cy="123113"/>
          </a:xfrm>
          <a:prstGeom prst="rect">
            <a:avLst/>
          </a:prstGeom>
        </p:spPr>
        <p:txBody>
          <a:bodyPr/>
          <a:lstStyle>
            <a:lvl1pPr marL="0" indent="0" defTabSz="914400">
              <a:spcBef>
                <a:spcPts val="300"/>
              </a:spcBef>
              <a:buSzTx/>
              <a:buNone/>
              <a:defRPr sz="800">
                <a:solidFill>
                  <a:srgbClr val="000000"/>
                </a:solidFill>
                <a:latin typeface="Segoe UI"/>
                <a:ea typeface="Segoe UI"/>
                <a:cs typeface="Segoe UI"/>
                <a:sym typeface="Segoe UI"/>
              </a:defRPr>
            </a:lvl1pPr>
          </a:lstStyle>
          <a:p>
            <a:r>
              <a:t>Add tracker</a:t>
            </a:r>
          </a:p>
        </p:txBody>
      </p:sp>
      <p:sp>
        <p:nvSpPr>
          <p:cNvPr id="80" name="Oval 23"/>
          <p:cNvSpPr/>
          <p:nvPr/>
        </p:nvSpPr>
        <p:spPr>
          <a:xfrm>
            <a:off x="11459846" y="6576351"/>
            <a:ext cx="177417" cy="177417"/>
          </a:xfrm>
          <a:prstGeom prst="ellipse">
            <a:avLst/>
          </a:prstGeom>
          <a:solidFill>
            <a:srgbClr val="D3D2C3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914400">
              <a:defRPr sz="1600"/>
            </a:pPr>
            <a:endParaRPr/>
          </a:p>
        </p:txBody>
      </p:sp>
      <p:sp>
        <p:nvSpPr>
          <p:cNvPr id="8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485054" y="6600397"/>
            <a:ext cx="127001" cy="127001"/>
          </a:xfrm>
          <a:prstGeom prst="rect">
            <a:avLst/>
          </a:prstGeom>
        </p:spPr>
        <p:txBody>
          <a:bodyPr/>
          <a:lstStyle>
            <a:lvl1pPr defTabSz="914400">
              <a:defRPr sz="7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72563334"/>
      </p:ext>
    </p:extLst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id="{88DE9282-0D71-476A-AF62-33B66104EA9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20036" y="1089025"/>
            <a:ext cx="5351338" cy="5219700"/>
          </a:xfrm>
          <a:custGeom>
            <a:avLst/>
            <a:gdLst>
              <a:gd name="connsiteX0" fmla="*/ 0 w 4595874"/>
              <a:gd name="connsiteY0" fmla="*/ 0 h 5219700"/>
              <a:gd name="connsiteX1" fmla="*/ 4595874 w 4595874"/>
              <a:gd name="connsiteY1" fmla="*/ 0 h 5219700"/>
              <a:gd name="connsiteX2" fmla="*/ 4595874 w 4595874"/>
              <a:gd name="connsiteY2" fmla="*/ 5219700 h 5219700"/>
              <a:gd name="connsiteX3" fmla="*/ 0 w 4595874"/>
              <a:gd name="connsiteY3" fmla="*/ 5219700 h 5219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95874" h="5219700">
                <a:moveTo>
                  <a:pt x="0" y="0"/>
                </a:moveTo>
                <a:lnTo>
                  <a:pt x="4595874" y="0"/>
                </a:lnTo>
                <a:lnTo>
                  <a:pt x="4595874" y="5219700"/>
                </a:lnTo>
                <a:lnTo>
                  <a:pt x="0" y="5219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42817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4">
            <a:extLst>
              <a:ext uri="{FF2B5EF4-FFF2-40B4-BE49-F238E27FC236}">
                <a16:creationId xmlns:a16="http://schemas.microsoft.com/office/drawing/2014/main" id="{A9E75C1E-59FA-1141-88ED-C9DA5B5C20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20749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C1325F-6528-4978-BB9C-5A05716694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6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C1325F-6528-4978-BB9C-5A05716694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07988" y="399124"/>
            <a:ext cx="10379284" cy="2979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ru-RU" sz="816" smtClean="0">
                <a:solidFill>
                  <a:schemeClr val="accent6"/>
                </a:solidFill>
              </a:rPr>
              <a:pPr lvl="0"/>
              <a:t>‹#›</a:t>
            </a:fld>
            <a:endParaRPr lang="ru-RU" sz="816" dirty="0">
              <a:solidFill>
                <a:schemeClr val="accent6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ru-RU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84782962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в 1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07987" y="268318"/>
            <a:ext cx="10379286" cy="559573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6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##.##.####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</p:spTree>
    <p:extLst>
      <p:ext uri="{BB962C8B-B14F-4D97-AF65-F5344CB8AC3E}">
        <p14:creationId xmlns:p14="http://schemas.microsoft.com/office/powerpoint/2010/main" val="489033951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в 1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0DFAEB1-2ED2-439A-8852-3B5C198096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596504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0638540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Диагональный паттерн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4CE0A532-2796-40D5-A00D-592B82F1A2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" y="0"/>
            <a:ext cx="12190476" cy="6858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769D422-068F-4038-B61F-055EE178BF4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803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4F084705-79E6-42DD-98F2-B35FEB439D9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89979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9" name="Рисунок 14">
            <a:extLst>
              <a:ext uri="{FF2B5EF4-FFF2-40B4-BE49-F238E27FC236}">
                <a16:creationId xmlns:a16="http://schemas.microsoft.com/office/drawing/2014/main" id="{1AE48965-BA51-4431-9685-CAA105EF63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9979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9316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68652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316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8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2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84362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4F084705-79E6-42DD-98F2-B35FEB439D9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89979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68652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316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2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58888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Рисунок 14">
            <a:extLst>
              <a:ext uri="{FF2B5EF4-FFF2-40B4-BE49-F238E27FC236}">
                <a16:creationId xmlns:a16="http://schemas.microsoft.com/office/drawing/2014/main" id="{1AE48965-BA51-4431-9685-CAA105EF63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9979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9316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2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63301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 во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7" y="1092880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465" y="1092880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7" y="3736398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68465" y="3736398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54764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vmlDrawing" Target="../drawings/vmlDrawing1.vml"/><Relationship Id="rId49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oleObject" Target="../embeddings/oleObject2.bin"/><Relationship Id="rId5" Type="http://schemas.openxmlformats.org/officeDocument/2006/relationships/tags" Target="../tags/tag4.xml"/><Relationship Id="rId4" Type="http://schemas.openxmlformats.org/officeDocument/2006/relationships/vmlDrawing" Target="../drawings/vmlDrawing2.vml"/><Relationship Id="rId9" Type="http://schemas.openxmlformats.org/officeDocument/2006/relationships/image" Target="../media/image20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8.jpe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7.png"/><Relationship Id="rId10" Type="http://schemas.openxmlformats.org/officeDocument/2006/relationships/vmlDrawing" Target="../drawings/vmlDrawing3.vml"/><Relationship Id="rId4" Type="http://schemas.openxmlformats.org/officeDocument/2006/relationships/slideLayout" Target="../slideLayouts/slideLayout40.xml"/><Relationship Id="rId9" Type="http://schemas.openxmlformats.org/officeDocument/2006/relationships/theme" Target="../theme/theme3.xml"/><Relationship Id="rId14" Type="http://schemas.openxmlformats.org/officeDocument/2006/relationships/image" Target="../media/image6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slideLayout" Target="../slideLayouts/slideLayout47.xml"/><Relationship Id="rId7" Type="http://schemas.openxmlformats.org/officeDocument/2006/relationships/tags" Target="../tags/tag8.xml"/><Relationship Id="rId12" Type="http://schemas.openxmlformats.org/officeDocument/2006/relationships/image" Target="../media/image10.jpeg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vmlDrawing" Target="../drawings/vmlDrawing5.vml"/><Relationship Id="rId11" Type="http://schemas.openxmlformats.org/officeDocument/2006/relationships/image" Target="../media/image7.png"/><Relationship Id="rId5" Type="http://schemas.openxmlformats.org/officeDocument/2006/relationships/theme" Target="../theme/theme4.xml"/><Relationship Id="rId10" Type="http://schemas.openxmlformats.org/officeDocument/2006/relationships/image" Target="../media/image6.emf"/><Relationship Id="rId4" Type="http://schemas.openxmlformats.org/officeDocument/2006/relationships/slideLayout" Target="../slideLayouts/slideLayout48.xml"/><Relationship Id="rId9" Type="http://schemas.openxmlformats.org/officeDocument/2006/relationships/oleObject" Target="../embeddings/oleObject5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image" Target="../media/image11.emf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oleObject" Target="../embeddings/oleObject7.bin"/><Relationship Id="rId5" Type="http://schemas.openxmlformats.org/officeDocument/2006/relationships/slideLayout" Target="../slideLayouts/slideLayout56.xml"/><Relationship Id="rId10" Type="http://schemas.openxmlformats.org/officeDocument/2006/relationships/tags" Target="../tags/tag11.xml"/><Relationship Id="rId4" Type="http://schemas.openxmlformats.org/officeDocument/2006/relationships/slideLayout" Target="../slideLayouts/slideLayout55.xml"/><Relationship Id="rId9" Type="http://schemas.openxmlformats.org/officeDocument/2006/relationships/vmlDrawing" Target="../drawings/vmlDrawing7.vml"/><Relationship Id="rId14" Type="http://schemas.openxmlformats.org/officeDocument/2006/relationships/image" Target="../media/image21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2845040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8" name="Слайд think-cell" r:id="rId39" imgW="395" imgH="394" progId="TCLayout.ActiveDocument.1">
                  <p:embed/>
                </p:oleObj>
              </mc:Choice>
              <mc:Fallback>
                <p:oleObj name="Слайд think-cell" r:id="rId39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3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lvl="0" indent="0" algn="ctr" defTabSz="895350" eaLnBrk="1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2000" b="1" i="0" baseline="0" dirty="0" err="1" smtClean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B01F387C-39A2-4383-9067-930B5BAB9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1964" y="6561348"/>
            <a:ext cx="648072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ctr"/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2E633E08-A2F7-2240-B1AF-8CE9750E3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4467EA0F-216A-4484-99FF-CCA159F142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4" y="1089028"/>
            <a:ext cx="11376012" cy="52196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70892B7-CD7A-4D50-A1E9-C654EDDD4643}"/>
              </a:ext>
            </a:extLst>
          </p:cNvPr>
          <p:cNvSpPr txBox="1"/>
          <p:nvPr userDrawn="1"/>
        </p:nvSpPr>
        <p:spPr>
          <a:xfrm>
            <a:off x="407989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cxnSp>
        <p:nvCxnSpPr>
          <p:cNvPr id="13" name="Прямая соединительная линия 9">
            <a:extLst>
              <a:ext uri="{FF2B5EF4-FFF2-40B4-BE49-F238E27FC236}">
                <a16:creationId xmlns:a16="http://schemas.microsoft.com/office/drawing/2014/main" id="{5156B17C-4D58-49ED-8A2C-77C6C12C0EC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025F859-AA26-4814-AC0C-F08BE6660D02}"/>
              </a:ext>
            </a:extLst>
          </p:cNvPr>
          <p:cNvPicPr>
            <a:picLocks noChangeAspect="1"/>
          </p:cNvPicPr>
          <p:nvPr userDrawn="1"/>
        </p:nvPicPr>
        <p:blipFill>
          <a:blip r:embed="rId41">
            <a:extLst>
              <a:ext uri="{96DAC541-7B7A-43D3-8B79-37D633B846F1}">
                <asvg:svgBlip xmlns=""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835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800" r:id="rId2"/>
    <p:sldLayoutId id="2147483681" r:id="rId3"/>
    <p:sldLayoutId id="2147483780" r:id="rId4"/>
    <p:sldLayoutId id="2147483782" r:id="rId5"/>
    <p:sldLayoutId id="2147483785" r:id="rId6"/>
    <p:sldLayoutId id="2147483787" r:id="rId7"/>
    <p:sldLayoutId id="2147483786" r:id="rId8"/>
    <p:sldLayoutId id="2147483783" r:id="rId9"/>
    <p:sldLayoutId id="2147483784" r:id="rId10"/>
    <p:sldLayoutId id="2147483781" r:id="rId11"/>
    <p:sldLayoutId id="2147483729" r:id="rId12"/>
    <p:sldLayoutId id="2147483730" r:id="rId13"/>
    <p:sldLayoutId id="2147483728" r:id="rId14"/>
    <p:sldLayoutId id="2147483727" r:id="rId15"/>
    <p:sldLayoutId id="2147483707" r:id="rId16"/>
    <p:sldLayoutId id="2147483682" r:id="rId17"/>
    <p:sldLayoutId id="2147483698" r:id="rId18"/>
    <p:sldLayoutId id="2147483699" r:id="rId19"/>
    <p:sldLayoutId id="2147483705" r:id="rId20"/>
    <p:sldLayoutId id="2147483706" r:id="rId21"/>
    <p:sldLayoutId id="2147483791" r:id="rId22"/>
    <p:sldLayoutId id="2147483702" r:id="rId23"/>
    <p:sldLayoutId id="2147483704" r:id="rId24"/>
    <p:sldLayoutId id="2147483686" r:id="rId25"/>
    <p:sldLayoutId id="2147483700" r:id="rId26"/>
    <p:sldLayoutId id="2147483799" r:id="rId27"/>
    <p:sldLayoutId id="2147483798" r:id="rId28"/>
    <p:sldLayoutId id="2147483701" r:id="rId29"/>
    <p:sldLayoutId id="2147483703" r:id="rId30"/>
    <p:sldLayoutId id="2147483691" r:id="rId31"/>
    <p:sldLayoutId id="2147483779" r:id="rId32"/>
    <p:sldLayoutId id="2147483788" r:id="rId33"/>
    <p:sldLayoutId id="2147483797" r:id="rId34"/>
  </p:sldLayoutIdLst>
  <p:hf hdr="0" ftr="0" dt="0"/>
  <p:txStyles>
    <p:titleStyle>
      <a:lvl1pPr algn="l" defTabSz="883649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1" i="0" spc="0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2pPr>
      <a:lvl3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3pPr>
      <a:lvl4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4pPr>
      <a:lvl5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5pPr>
      <a:lvl6pPr marL="422041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6pPr>
      <a:lvl7pPr marL="844083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7pPr>
      <a:lvl8pPr marL="1266124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8pPr>
      <a:lvl9pPr marL="1688165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9pPr>
    </p:titleStyle>
    <p:bodyStyle>
      <a:lvl1pPr marL="331185" indent="-331185" algn="l" defTabSz="883649" rtl="0" eaLnBrk="0" fontAlgn="base" hangingPunct="0">
        <a:spcBef>
          <a:spcPct val="20000"/>
        </a:spcBef>
        <a:spcAft>
          <a:spcPct val="0"/>
        </a:spcAft>
        <a:buChar char="•"/>
        <a:defRPr sz="1292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18056" indent="-275499" algn="l" defTabSz="883649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1104928" indent="-221279" algn="l" defTabSz="883649" rtl="0" eaLnBrk="0" fontAlgn="base" hangingPunct="0">
        <a:spcBef>
          <a:spcPct val="20000"/>
        </a:spcBef>
        <a:spcAft>
          <a:spcPct val="0"/>
        </a:spcAft>
        <a:buFont typeface="Arial" charset="0"/>
        <a:buChar char="&gt;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1547485" indent="-221279" algn="l" defTabSz="883649" rtl="0" eaLnBrk="0" fontAlgn="base" hangingPunct="0">
        <a:spcBef>
          <a:spcPct val="20000"/>
        </a:spcBef>
        <a:spcAft>
          <a:spcPct val="0"/>
        </a:spcAft>
        <a:buChar char="–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4pPr>
      <a:lvl5pPr marL="1990042" indent="-221279" algn="l" defTabSz="883649" rtl="0" eaLnBrk="0" fontAlgn="base" hangingPunct="0">
        <a:spcBef>
          <a:spcPct val="20000"/>
        </a:spcBef>
        <a:spcAft>
          <a:spcPct val="0"/>
        </a:spcAft>
        <a:buChar char="•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5pPr>
      <a:lvl6pPr marL="2412083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6pPr>
      <a:lvl7pPr marL="2834125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7pPr>
      <a:lvl8pPr marL="3256166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8pPr>
      <a:lvl9pPr marL="3678207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57" userDrawn="1">
          <p15:clr>
            <a:srgbClr val="A4A3A4"/>
          </p15:clr>
        </p15:guide>
        <p15:guide id="2" pos="7423" userDrawn="1">
          <p15:clr>
            <a:srgbClr val="A4A3A4"/>
          </p15:clr>
        </p15:guide>
        <p15:guide id="3" orient="horz" pos="3974" userDrawn="1">
          <p15:clr>
            <a:srgbClr val="A4A3A4"/>
          </p15:clr>
        </p15:guide>
        <p15:guide id="4" orient="horz" pos="686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66558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2" name="Слайд think-cell" r:id="rId6" imgW="395" imgH="394" progId="TCLayout.ActiveDocument.1">
                  <p:embed/>
                </p:oleObj>
              </mc:Choice>
              <mc:Fallback>
                <p:oleObj name="Слайд think-cell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B01F387C-39A2-4383-9067-930B5BAB9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1964" y="6561348"/>
            <a:ext cx="648072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ctr"/>
            <a:fld id="{3B9CAC58-44C9-4DC0-A6AF-0B4057C34224}" type="slidenum">
              <a:rPr lang="ru-RU" smtClean="0"/>
              <a:pPr algn="ctr"/>
              <a:t>‹#›</a:t>
            </a:fld>
            <a:endParaRPr lang="ru-RU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2E633E08-A2F7-2240-B1AF-8CE9750E3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/>
          <a:p>
            <a:r>
              <a:rPr lang="ru-RU"/>
              <a:t>Заголовок слайда</a:t>
            </a:r>
            <a:br>
              <a:rPr lang="ru-RU"/>
            </a:br>
            <a:r>
              <a:rPr lang="ru-RU"/>
              <a:t>в две строки</a:t>
            </a: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4467EA0F-216A-4484-99FF-CCA159F142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4" y="1089028"/>
            <a:ext cx="11376012" cy="52196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70892B7-CD7A-4D50-A1E9-C654EDDD4643}"/>
              </a:ext>
            </a:extLst>
          </p:cNvPr>
          <p:cNvSpPr txBox="1"/>
          <p:nvPr userDrawn="1"/>
        </p:nvSpPr>
        <p:spPr>
          <a:xfrm>
            <a:off x="407989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>
                <a:solidFill>
                  <a:schemeClr val="tx1">
                    <a:lumMod val="75000"/>
                    <a:lumOff val="25000"/>
                  </a:schemeClr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ru-RU" sz="500">
                <a:solidFill>
                  <a:schemeClr val="tx1">
                    <a:lumMod val="75000"/>
                    <a:lumOff val="25000"/>
                  </a:schemeClr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cxnSp>
        <p:nvCxnSpPr>
          <p:cNvPr id="13" name="Прямая соединительная линия 9">
            <a:extLst>
              <a:ext uri="{FF2B5EF4-FFF2-40B4-BE49-F238E27FC236}">
                <a16:creationId xmlns:a16="http://schemas.microsoft.com/office/drawing/2014/main" id="{5156B17C-4D58-49ED-8A2C-77C6C12C0EC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025F859-AA26-4814-AC0C-F08BE6660D0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973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</p:sldLayoutIdLst>
  <p:hf hdr="0" ftr="0" dt="0"/>
  <p:txStyles>
    <p:titleStyle>
      <a:lvl1pPr algn="l" defTabSz="883649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1" i="0" spc="0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2pPr>
      <a:lvl3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3pPr>
      <a:lvl4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4pPr>
      <a:lvl5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5pPr>
      <a:lvl6pPr marL="422041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6pPr>
      <a:lvl7pPr marL="844083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7pPr>
      <a:lvl8pPr marL="1266124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8pPr>
      <a:lvl9pPr marL="1688165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9pPr>
    </p:titleStyle>
    <p:bodyStyle>
      <a:lvl1pPr marL="331185" indent="-331185" algn="l" defTabSz="883649" rtl="0" eaLnBrk="0" fontAlgn="base" hangingPunct="0">
        <a:spcBef>
          <a:spcPct val="20000"/>
        </a:spcBef>
        <a:spcAft>
          <a:spcPct val="0"/>
        </a:spcAft>
        <a:buChar char="•"/>
        <a:defRPr sz="1292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18056" indent="-275499" algn="l" defTabSz="883649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1104928" indent="-221279" algn="l" defTabSz="883649" rtl="0" eaLnBrk="0" fontAlgn="base" hangingPunct="0">
        <a:spcBef>
          <a:spcPct val="20000"/>
        </a:spcBef>
        <a:spcAft>
          <a:spcPct val="0"/>
        </a:spcAft>
        <a:buFont typeface="Arial" charset="0"/>
        <a:buChar char="&gt;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1547485" indent="-221279" algn="l" defTabSz="883649" rtl="0" eaLnBrk="0" fontAlgn="base" hangingPunct="0">
        <a:spcBef>
          <a:spcPct val="20000"/>
        </a:spcBef>
        <a:spcAft>
          <a:spcPct val="0"/>
        </a:spcAft>
        <a:buChar char="–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4pPr>
      <a:lvl5pPr marL="1990042" indent="-221279" algn="l" defTabSz="883649" rtl="0" eaLnBrk="0" fontAlgn="base" hangingPunct="0">
        <a:spcBef>
          <a:spcPct val="20000"/>
        </a:spcBef>
        <a:spcAft>
          <a:spcPct val="0"/>
        </a:spcAft>
        <a:buChar char="•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5pPr>
      <a:lvl6pPr marL="2412083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6pPr>
      <a:lvl7pPr marL="2834125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7pPr>
      <a:lvl8pPr marL="3256166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8pPr>
      <a:lvl9pPr marL="3678207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57">
          <p15:clr>
            <a:srgbClr val="A4A3A4"/>
          </p15:clr>
        </p15:guide>
        <p15:guide id="2" pos="7423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orient="horz" pos="686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71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2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72967AA5-AE65-4CC4-B46D-A262ECD99DBD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56"/>
          <a:stretch/>
        </p:blipFill>
        <p:spPr>
          <a:xfrm>
            <a:off x="110145" y="0"/>
            <a:ext cx="12081856" cy="952410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7536" y="440873"/>
            <a:ext cx="11841231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77536" y="77303"/>
            <a:ext cx="39417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816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7535" y="888407"/>
            <a:ext cx="11841231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32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32" b="1" i="1" baseline="0" noProof="0" dirty="0">
                  <a:latin typeface="+mn-lt"/>
                  <a:ea typeface="+mn-ea"/>
                </a:rPr>
                <a:t>Название документа</a:t>
              </a:r>
            </a:p>
            <a:p>
              <a:r>
                <a:rPr lang="ru-RU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404499" y="291554"/>
            <a:ext cx="482956" cy="156360"/>
            <a:chOff x="8385789" y="285750"/>
            <a:chExt cx="354986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62730" y="285750"/>
              <a:ext cx="278045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ru-RU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0" name="SlideBottomBar" hidden="1"/>
          <p:cNvSpPr/>
          <p:nvPr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1" y="1991016"/>
            <a:ext cx="4389573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pic>
        <p:nvPicPr>
          <p:cNvPr id="63" name="Picture 2" descr="D:\samyagichev\brand_severstal\All\Северсталь Инновации\logo_innovations_1.jpg">
            <a:extLst>
              <a:ext uri="{FF2B5EF4-FFF2-40B4-BE49-F238E27FC236}">
                <a16:creationId xmlns:a16="http://schemas.microsoft.com/office/drawing/2014/main" id="{575558E0-C759-4E16-B0E3-AD03D1BB35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7400" y="6213342"/>
            <a:ext cx="1349266" cy="521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93853" y="6325370"/>
            <a:ext cx="1042491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ru-RU" sz="816" baseline="0" noProof="0" dirty="0">
                <a:solidFill>
                  <a:schemeClr val="tx1"/>
                </a:solidFill>
                <a:latin typeface="+mn-lt"/>
                <a:ea typeface="+mn-ea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93853" y="6531078"/>
            <a:ext cx="1042491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ru-RU" sz="816" baseline="0" noProof="0" dirty="0">
                <a:solidFill>
                  <a:schemeClr val="tx1"/>
                </a:solidFill>
                <a:latin typeface="+mn-lt"/>
                <a:ea typeface="+mn-ea"/>
              </a:rPr>
              <a:t>ИСТОЧНИК: источник</a:t>
            </a:r>
          </a:p>
        </p:txBody>
      </p:sp>
    </p:spTree>
    <p:extLst>
      <p:ext uri="{BB962C8B-B14F-4D97-AF65-F5344CB8AC3E}">
        <p14:creationId xmlns:p14="http://schemas.microsoft.com/office/powerpoint/2010/main" val="1590868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6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1" i="0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lang="ru-RU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lang="ru-RU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lang="ru-RU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lang="ru-RU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38" name="Слайд think-cell" r:id="rId9" imgW="270" imgH="270" progId="TCLayout.ActiveDocument.1">
                  <p:embed/>
                </p:oleObj>
              </mc:Choice>
              <mc:Fallback>
                <p:oleObj name="Слайд think-cell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72967AA5-AE65-4CC4-B46D-A262ECD99DBD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56"/>
          <a:stretch/>
        </p:blipFill>
        <p:spPr>
          <a:xfrm>
            <a:off x="110145" y="0"/>
            <a:ext cx="12081856" cy="952410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7536" y="440873"/>
            <a:ext cx="11841231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77536" y="77303"/>
            <a:ext cx="39417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816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7535" y="888407"/>
            <a:ext cx="11841231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32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163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32" b="1" i="1" baseline="0" noProof="0" dirty="0">
                  <a:latin typeface="+mn-lt"/>
                  <a:ea typeface="+mn-ea"/>
                </a:rPr>
                <a:t>Название документа</a:t>
              </a:r>
            </a:p>
            <a:p>
              <a:r>
                <a:rPr lang="ru-RU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404499" y="291554"/>
            <a:ext cx="482956" cy="156360"/>
            <a:chOff x="8385789" y="285750"/>
            <a:chExt cx="354986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62730" y="285750"/>
              <a:ext cx="278045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ru-RU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0" name="SlideBottomBar" hidden="1"/>
          <p:cNvSpPr/>
          <p:nvPr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1" y="1991016"/>
            <a:ext cx="4389573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pic>
        <p:nvPicPr>
          <p:cNvPr id="63" name="Picture 2" descr="D:\samyagichev\brand_severstal\All\Северсталь Инновации\logo_innovations_1.jpg">
            <a:extLst>
              <a:ext uri="{FF2B5EF4-FFF2-40B4-BE49-F238E27FC236}">
                <a16:creationId xmlns:a16="http://schemas.microsoft.com/office/drawing/2014/main" id="{575558E0-C759-4E16-B0E3-AD03D1BB35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7400" y="6213342"/>
            <a:ext cx="1349266" cy="521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93853" y="6325370"/>
            <a:ext cx="1042491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ru-RU" sz="816" baseline="0" noProof="0" dirty="0">
                <a:solidFill>
                  <a:schemeClr val="tx1"/>
                </a:solidFill>
                <a:latin typeface="+mn-lt"/>
                <a:ea typeface="+mn-ea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93853" y="6531078"/>
            <a:ext cx="1042491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ru-RU" sz="816" baseline="0" noProof="0" dirty="0">
                <a:solidFill>
                  <a:schemeClr val="tx1"/>
                </a:solidFill>
                <a:latin typeface="+mn-lt"/>
                <a:ea typeface="+mn-ea"/>
              </a:rPr>
              <a:t>ИСТОЧНИК: источник</a:t>
            </a:r>
          </a:p>
        </p:txBody>
      </p:sp>
    </p:spTree>
    <p:extLst>
      <p:ext uri="{BB962C8B-B14F-4D97-AF65-F5344CB8AC3E}">
        <p14:creationId xmlns:p14="http://schemas.microsoft.com/office/powerpoint/2010/main" val="4077298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1" i="0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lang="ru-RU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lang="ru-RU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lang="ru-RU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lang="ru-RU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09600" y="92074"/>
            <a:ext cx="10972800" cy="1508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/>
          <a:lstStyle/>
          <a:p>
            <a:r>
              <a:t>Текст заголовка</a:t>
            </a:r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5257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7315200" y="6172200"/>
            <a:ext cx="2844800" cy="36830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ctr">
              <a:defRPr sz="1000">
                <a:solidFill>
                  <a:srgbClr val="40404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2882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3" r:id="rId1"/>
    <p:sldLayoutId id="2147483924" r:id="rId2"/>
    <p:sldLayoutId id="2147483925" r:id="rId3"/>
  </p:sldLayoutIdLst>
  <p:transition spd="med"/>
  <p:hf hdr="0" ftr="0" dt="0"/>
  <p:txStyles>
    <p:titleStyle>
      <a:lvl1pPr marL="0" marR="0" indent="0" algn="l" defTabSz="883648" latinLnBrk="0">
        <a:lnSpc>
          <a:spcPct val="8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1" i="0" u="none" strike="noStrike" cap="none" spc="0" baseline="0">
          <a:solidFill>
            <a:schemeClr val="accent2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883648" latinLnBrk="0">
        <a:lnSpc>
          <a:spcPct val="8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1" i="0" u="none" strike="noStrike" cap="none" spc="0" baseline="0">
          <a:solidFill>
            <a:schemeClr val="accent2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883648" latinLnBrk="0">
        <a:lnSpc>
          <a:spcPct val="8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1" i="0" u="none" strike="noStrike" cap="none" spc="0" baseline="0">
          <a:solidFill>
            <a:schemeClr val="accent2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883648" latinLnBrk="0">
        <a:lnSpc>
          <a:spcPct val="8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1" i="0" u="none" strike="noStrike" cap="none" spc="0" baseline="0">
          <a:solidFill>
            <a:schemeClr val="accent2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883648" latinLnBrk="0">
        <a:lnSpc>
          <a:spcPct val="8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1" i="0" u="none" strike="noStrike" cap="none" spc="0" baseline="0">
          <a:solidFill>
            <a:schemeClr val="accent2"/>
          </a:solidFill>
          <a:uFillTx/>
          <a:latin typeface="Arial"/>
          <a:ea typeface="Arial"/>
          <a:cs typeface="Arial"/>
          <a:sym typeface="Arial"/>
        </a:defRPr>
      </a:lvl5pPr>
      <a:lvl6pPr marL="0" marR="0" indent="422041" algn="l" defTabSz="883648" latinLnBrk="0">
        <a:lnSpc>
          <a:spcPct val="8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1" i="0" u="none" strike="noStrike" cap="none" spc="0" baseline="0">
          <a:solidFill>
            <a:schemeClr val="accent2"/>
          </a:solidFill>
          <a:uFillTx/>
          <a:latin typeface="Arial"/>
          <a:ea typeface="Arial"/>
          <a:cs typeface="Arial"/>
          <a:sym typeface="Arial"/>
        </a:defRPr>
      </a:lvl6pPr>
      <a:lvl7pPr marL="0" marR="0" indent="844082" algn="l" defTabSz="883648" latinLnBrk="0">
        <a:lnSpc>
          <a:spcPct val="8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1" i="0" u="none" strike="noStrike" cap="none" spc="0" baseline="0">
          <a:solidFill>
            <a:schemeClr val="accent2"/>
          </a:solidFill>
          <a:uFillTx/>
          <a:latin typeface="Arial"/>
          <a:ea typeface="Arial"/>
          <a:cs typeface="Arial"/>
          <a:sym typeface="Arial"/>
        </a:defRPr>
      </a:lvl7pPr>
      <a:lvl8pPr marL="0" marR="0" indent="1266123" algn="l" defTabSz="883648" latinLnBrk="0">
        <a:lnSpc>
          <a:spcPct val="8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1" i="0" u="none" strike="noStrike" cap="none" spc="0" baseline="0">
          <a:solidFill>
            <a:schemeClr val="accent2"/>
          </a:solidFill>
          <a:uFillTx/>
          <a:latin typeface="Arial"/>
          <a:ea typeface="Arial"/>
          <a:cs typeface="Arial"/>
          <a:sym typeface="Arial"/>
        </a:defRPr>
      </a:lvl8pPr>
      <a:lvl9pPr marL="0" marR="0" indent="1688164" algn="l" defTabSz="883648" latinLnBrk="0">
        <a:lnSpc>
          <a:spcPct val="8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1" i="0" u="none" strike="noStrike" cap="none" spc="0" baseline="0">
          <a:solidFill>
            <a:schemeClr val="accent2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331184" marR="0" indent="-331184" algn="l" defTabSz="883648" rtl="0" latinLnBrk="0">
        <a:lnSpc>
          <a:spcPct val="100000"/>
        </a:lnSpc>
        <a:spcBef>
          <a:spcPts val="200"/>
        </a:spcBef>
        <a:spcAft>
          <a:spcPts val="0"/>
        </a:spcAft>
        <a:buClrTx/>
        <a:buSzPct val="100000"/>
        <a:buFontTx/>
        <a:buChar char="•"/>
        <a:tabLst/>
        <a:defRPr sz="1200" b="0" i="0" u="none" strike="noStrike" cap="none" spc="0" baseline="0">
          <a:solidFill>
            <a:srgbClr val="404040"/>
          </a:solidFill>
          <a:uFillTx/>
          <a:latin typeface="Arial"/>
          <a:ea typeface="Arial"/>
          <a:cs typeface="Arial"/>
          <a:sym typeface="Arial"/>
        </a:defRPr>
      </a:lvl1pPr>
      <a:lvl2pPr marL="718055" marR="0" indent="-275498" algn="l" defTabSz="883648" rtl="0" latinLnBrk="0">
        <a:lnSpc>
          <a:spcPct val="100000"/>
        </a:lnSpc>
        <a:spcBef>
          <a:spcPts val="200"/>
        </a:spcBef>
        <a:spcAft>
          <a:spcPts val="0"/>
        </a:spcAft>
        <a:buClrTx/>
        <a:buSzPct val="100000"/>
        <a:buFontTx/>
        <a:buChar char="▪"/>
        <a:tabLst/>
        <a:defRPr sz="1200" b="0" i="0" u="none" strike="noStrike" cap="none" spc="0" baseline="0">
          <a:solidFill>
            <a:srgbClr val="404040"/>
          </a:solidFill>
          <a:uFillTx/>
          <a:latin typeface="Arial"/>
          <a:ea typeface="Arial"/>
          <a:cs typeface="Arial"/>
          <a:sym typeface="Arial"/>
        </a:defRPr>
      </a:lvl2pPr>
      <a:lvl3pPr marL="1104928" marR="0" indent="-221279" algn="l" defTabSz="883648" rtl="0" latinLnBrk="0">
        <a:lnSpc>
          <a:spcPct val="100000"/>
        </a:lnSpc>
        <a:spcBef>
          <a:spcPts val="200"/>
        </a:spcBef>
        <a:spcAft>
          <a:spcPts val="0"/>
        </a:spcAft>
        <a:buClrTx/>
        <a:buSzPct val="100000"/>
        <a:buFontTx/>
        <a:buChar char="&gt;"/>
        <a:tabLst/>
        <a:defRPr sz="1200" b="0" i="0" u="none" strike="noStrike" cap="none" spc="0" baseline="0">
          <a:solidFill>
            <a:srgbClr val="404040"/>
          </a:solidFill>
          <a:uFillTx/>
          <a:latin typeface="Arial"/>
          <a:ea typeface="Arial"/>
          <a:cs typeface="Arial"/>
          <a:sym typeface="Arial"/>
        </a:defRPr>
      </a:lvl3pPr>
      <a:lvl4pPr marL="1567601" marR="0" indent="-241395" algn="l" defTabSz="883648" rtl="0" latinLnBrk="0">
        <a:lnSpc>
          <a:spcPct val="100000"/>
        </a:lnSpc>
        <a:spcBef>
          <a:spcPts val="200"/>
        </a:spcBef>
        <a:spcAft>
          <a:spcPts val="0"/>
        </a:spcAft>
        <a:buClrTx/>
        <a:buSzPct val="100000"/>
        <a:buFontTx/>
        <a:buChar char="–"/>
        <a:tabLst/>
        <a:defRPr sz="1200" b="0" i="0" u="none" strike="noStrike" cap="none" spc="0" baseline="0">
          <a:solidFill>
            <a:srgbClr val="404040"/>
          </a:solidFill>
          <a:uFillTx/>
          <a:latin typeface="Arial"/>
          <a:ea typeface="Arial"/>
          <a:cs typeface="Arial"/>
          <a:sym typeface="Arial"/>
        </a:defRPr>
      </a:lvl4pPr>
      <a:lvl5pPr marL="2010158" marR="0" indent="-241395" algn="l" defTabSz="883648" rtl="0" latinLnBrk="0">
        <a:lnSpc>
          <a:spcPct val="100000"/>
        </a:lnSpc>
        <a:spcBef>
          <a:spcPts val="200"/>
        </a:spcBef>
        <a:spcAft>
          <a:spcPts val="0"/>
        </a:spcAft>
        <a:buClrTx/>
        <a:buSzPct val="100000"/>
        <a:buFontTx/>
        <a:buChar char="•"/>
        <a:tabLst/>
        <a:defRPr sz="1200" b="0" i="0" u="none" strike="noStrike" cap="none" spc="0" baseline="0">
          <a:solidFill>
            <a:srgbClr val="404040"/>
          </a:solidFill>
          <a:uFillTx/>
          <a:latin typeface="Arial"/>
          <a:ea typeface="Arial"/>
          <a:cs typeface="Arial"/>
          <a:sym typeface="Arial"/>
        </a:defRPr>
      </a:lvl5pPr>
      <a:lvl6pPr marL="2432199" marR="0" indent="-241395" algn="l" defTabSz="883648" rtl="0" latinLnBrk="0">
        <a:lnSpc>
          <a:spcPct val="100000"/>
        </a:lnSpc>
        <a:spcBef>
          <a:spcPts val="200"/>
        </a:spcBef>
        <a:spcAft>
          <a:spcPts val="0"/>
        </a:spcAft>
        <a:buClrTx/>
        <a:buSzPct val="100000"/>
        <a:buFontTx/>
        <a:buChar char="•"/>
        <a:tabLst/>
        <a:defRPr sz="1200" b="0" i="0" u="none" strike="noStrike" cap="none" spc="0" baseline="0">
          <a:solidFill>
            <a:srgbClr val="404040"/>
          </a:solidFill>
          <a:uFillTx/>
          <a:latin typeface="Arial"/>
          <a:ea typeface="Arial"/>
          <a:cs typeface="Arial"/>
          <a:sym typeface="Arial"/>
        </a:defRPr>
      </a:lvl6pPr>
      <a:lvl7pPr marL="2854241" marR="0" indent="-241395" algn="l" defTabSz="883648" rtl="0" latinLnBrk="0">
        <a:lnSpc>
          <a:spcPct val="100000"/>
        </a:lnSpc>
        <a:spcBef>
          <a:spcPts val="200"/>
        </a:spcBef>
        <a:spcAft>
          <a:spcPts val="0"/>
        </a:spcAft>
        <a:buClrTx/>
        <a:buSzPct val="100000"/>
        <a:buFontTx/>
        <a:buChar char="•"/>
        <a:tabLst/>
        <a:defRPr sz="1200" b="0" i="0" u="none" strike="noStrike" cap="none" spc="0" baseline="0">
          <a:solidFill>
            <a:srgbClr val="404040"/>
          </a:solidFill>
          <a:uFillTx/>
          <a:latin typeface="Arial"/>
          <a:ea typeface="Arial"/>
          <a:cs typeface="Arial"/>
          <a:sym typeface="Arial"/>
        </a:defRPr>
      </a:lvl7pPr>
      <a:lvl8pPr marL="3276282" marR="0" indent="-241395" algn="l" defTabSz="883648" rtl="0" latinLnBrk="0">
        <a:lnSpc>
          <a:spcPct val="100000"/>
        </a:lnSpc>
        <a:spcBef>
          <a:spcPts val="200"/>
        </a:spcBef>
        <a:spcAft>
          <a:spcPts val="0"/>
        </a:spcAft>
        <a:buClrTx/>
        <a:buSzPct val="100000"/>
        <a:buFontTx/>
        <a:buChar char="•"/>
        <a:tabLst/>
        <a:defRPr sz="1200" b="0" i="0" u="none" strike="noStrike" cap="none" spc="0" baseline="0">
          <a:solidFill>
            <a:srgbClr val="404040"/>
          </a:solidFill>
          <a:uFillTx/>
          <a:latin typeface="Arial"/>
          <a:ea typeface="Arial"/>
          <a:cs typeface="Arial"/>
          <a:sym typeface="Arial"/>
        </a:defRPr>
      </a:lvl8pPr>
      <a:lvl9pPr marL="3698323" marR="0" indent="-241395" algn="l" defTabSz="883648" rtl="0" latinLnBrk="0">
        <a:lnSpc>
          <a:spcPct val="100000"/>
        </a:lnSpc>
        <a:spcBef>
          <a:spcPts val="200"/>
        </a:spcBef>
        <a:spcAft>
          <a:spcPts val="0"/>
        </a:spcAft>
        <a:buClrTx/>
        <a:buSzPct val="100000"/>
        <a:buFontTx/>
        <a:buChar char="•"/>
        <a:tabLst/>
        <a:defRPr sz="1200" b="0" i="0" u="none" strike="noStrike" cap="none" spc="0" baseline="0">
          <a:solidFill>
            <a:srgbClr val="40404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4572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457200" algn="ctr" defTabSz="4572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914400" algn="ctr" defTabSz="4572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371600" algn="ctr" defTabSz="4572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1828800" algn="ctr" defTabSz="4572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2286000" algn="ctr" defTabSz="4572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2743200" algn="ctr" defTabSz="4572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3200400" algn="ctr" defTabSz="4572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3657600" algn="ctr" defTabSz="4572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2" name="Слайд think-cell" r:id="rId11" imgW="479" imgH="479" progId="TCLayout.ActiveDocument.1">
                  <p:embed/>
                </p:oleObj>
              </mc:Choice>
              <mc:Fallback>
                <p:oleObj name="Слайд think-cell" r:id="rId11" imgW="479" imgH="47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B01F387C-39A2-4383-9067-930B5BAB9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1964" y="6561348"/>
            <a:ext cx="648072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ctr"/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2E633E08-A2F7-2240-B1AF-8CE9750E3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4467EA0F-216A-4484-99FF-CCA159F142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4" y="1089028"/>
            <a:ext cx="11376012" cy="52196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70892B7-CD7A-4D50-A1E9-C654EDDD4643}"/>
              </a:ext>
            </a:extLst>
          </p:cNvPr>
          <p:cNvSpPr txBox="1"/>
          <p:nvPr userDrawn="1"/>
        </p:nvSpPr>
        <p:spPr>
          <a:xfrm>
            <a:off x="407989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cxnSp>
        <p:nvCxnSpPr>
          <p:cNvPr id="13" name="Прямая соединительная линия 9">
            <a:extLst>
              <a:ext uri="{FF2B5EF4-FFF2-40B4-BE49-F238E27FC236}">
                <a16:creationId xmlns:a16="http://schemas.microsoft.com/office/drawing/2014/main" id="{5156B17C-4D58-49ED-8A2C-77C6C12C0EC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025F859-AA26-4814-AC0C-F08BE6660D02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741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0" r:id="rId1"/>
    <p:sldLayoutId id="2147483931" r:id="rId2"/>
    <p:sldLayoutId id="2147483932" r:id="rId3"/>
    <p:sldLayoutId id="2147483933" r:id="rId4"/>
    <p:sldLayoutId id="2147483934" r:id="rId5"/>
    <p:sldLayoutId id="2147483935" r:id="rId6"/>
    <p:sldLayoutId id="2147483936" r:id="rId7"/>
  </p:sldLayoutIdLst>
  <p:hf hdr="0" ftr="0"/>
  <p:txStyles>
    <p:titleStyle>
      <a:lvl1pPr algn="l" defTabSz="883649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1" i="0" spc="0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2pPr>
      <a:lvl3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3pPr>
      <a:lvl4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4pPr>
      <a:lvl5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5pPr>
      <a:lvl6pPr marL="422041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6pPr>
      <a:lvl7pPr marL="844083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7pPr>
      <a:lvl8pPr marL="1266124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8pPr>
      <a:lvl9pPr marL="1688165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9pPr>
    </p:titleStyle>
    <p:bodyStyle>
      <a:lvl1pPr marL="331185" indent="-331185" algn="l" defTabSz="883649" rtl="0" eaLnBrk="0" fontAlgn="base" hangingPunct="0">
        <a:spcBef>
          <a:spcPct val="20000"/>
        </a:spcBef>
        <a:spcAft>
          <a:spcPct val="0"/>
        </a:spcAft>
        <a:buChar char="•"/>
        <a:defRPr sz="1292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18056" indent="-275499" algn="l" defTabSz="883649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1104928" indent="-221279" algn="l" defTabSz="883649" rtl="0" eaLnBrk="0" fontAlgn="base" hangingPunct="0">
        <a:spcBef>
          <a:spcPct val="20000"/>
        </a:spcBef>
        <a:spcAft>
          <a:spcPct val="0"/>
        </a:spcAft>
        <a:buFont typeface="Arial" charset="0"/>
        <a:buChar char="&gt;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1547485" indent="-221279" algn="l" defTabSz="883649" rtl="0" eaLnBrk="0" fontAlgn="base" hangingPunct="0">
        <a:spcBef>
          <a:spcPct val="20000"/>
        </a:spcBef>
        <a:spcAft>
          <a:spcPct val="0"/>
        </a:spcAft>
        <a:buChar char="–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4pPr>
      <a:lvl5pPr marL="1990042" indent="-221279" algn="l" defTabSz="883649" rtl="0" eaLnBrk="0" fontAlgn="base" hangingPunct="0">
        <a:spcBef>
          <a:spcPct val="20000"/>
        </a:spcBef>
        <a:spcAft>
          <a:spcPct val="0"/>
        </a:spcAft>
        <a:buChar char="•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5pPr>
      <a:lvl6pPr marL="2412083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6pPr>
      <a:lvl7pPr marL="2834125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7pPr>
      <a:lvl8pPr marL="3256166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8pPr>
      <a:lvl9pPr marL="3678207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57">
          <p15:clr>
            <a:srgbClr val="A4A3A4"/>
          </p15:clr>
        </p15:guide>
        <p15:guide id="2" pos="7423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orient="horz" pos="686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0.sv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3.emf"/><Relationship Id="rId12" Type="http://schemas.openxmlformats.org/officeDocument/2006/relationships/image" Target="../media/image17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8.svg"/><Relationship Id="rId5" Type="http://schemas.openxmlformats.org/officeDocument/2006/relationships/image" Target="../media/image14.jpeg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4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65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9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355B84E-8339-034D-B159-BD9AB5A63D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4145" y="-48148"/>
            <a:ext cx="10387997" cy="6906148"/>
          </a:xfrm>
          <a:prstGeom prst="rect">
            <a:avLst/>
          </a:prstGeom>
        </p:spPr>
      </p:pic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3" name="Слайд think-cell" r:id="rId6" imgW="383" imgH="384" progId="TCLayout.ActiveDocument.1">
                  <p:embed/>
                </p:oleObj>
              </mc:Choice>
              <mc:Fallback>
                <p:oleObj name="Слайд think-cell" r:id="rId6" imgW="383" imgH="384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Прямоугольник 105">
            <a:extLst>
              <a:ext uri="{FF2B5EF4-FFF2-40B4-BE49-F238E27FC236}">
                <a16:creationId xmlns:a16="http://schemas.microsoft.com/office/drawing/2014/main" id="{6E446B9E-1062-480B-A7F9-FC0FC6EDB071}"/>
              </a:ext>
            </a:extLst>
          </p:cNvPr>
          <p:cNvSpPr/>
          <p:nvPr/>
        </p:nvSpPr>
        <p:spPr>
          <a:xfrm>
            <a:off x="0" y="-48147"/>
            <a:ext cx="12039601" cy="6906147"/>
          </a:xfrm>
          <a:prstGeom prst="rect">
            <a:avLst/>
          </a:prstGeom>
          <a:gradFill>
            <a:gsLst>
              <a:gs pos="72000">
                <a:srgbClr val="002E70">
                  <a:alpha val="46000"/>
                </a:srgbClr>
              </a:gs>
              <a:gs pos="25000">
                <a:srgbClr val="002E70"/>
              </a:gs>
              <a:gs pos="100000">
                <a:srgbClr val="002E70">
                  <a:alpha val="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261AECBA-67AE-4A20-9667-16AB34E8B3F6}"/>
              </a:ext>
            </a:extLst>
          </p:cNvPr>
          <p:cNvSpPr/>
          <p:nvPr/>
        </p:nvSpPr>
        <p:spPr>
          <a:xfrm>
            <a:off x="713903" y="2960947"/>
            <a:ext cx="7996832" cy="1395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44083"/>
            <a:r>
              <a:rPr lang="ru-RU" sz="2800" b="1" dirty="0" smtClean="0">
                <a:solidFill>
                  <a:srgbClr val="FFFFFF"/>
                </a:solidFill>
              </a:rPr>
              <a:t>Комплексное исследование</a:t>
            </a:r>
            <a:endParaRPr lang="ru-RU" sz="2800" b="1" dirty="0">
              <a:solidFill>
                <a:srgbClr val="FFFFFF"/>
              </a:solidFill>
            </a:endParaRPr>
          </a:p>
          <a:p>
            <a:pPr defTabSz="844083"/>
            <a:r>
              <a:rPr lang="ru-RU" sz="2800" b="1" dirty="0" smtClean="0">
                <a:solidFill>
                  <a:srgbClr val="FFFFFF"/>
                </a:solidFill>
              </a:rPr>
              <a:t>мостовых сталей. Промежуточные результаты</a:t>
            </a:r>
            <a:endParaRPr lang="ru-RU" sz="2800" b="1" dirty="0">
              <a:solidFill>
                <a:srgbClr val="FFFFFF"/>
              </a:solidFill>
            </a:endParaRPr>
          </a:p>
        </p:txBody>
      </p:sp>
      <p:grpSp>
        <p:nvGrpSpPr>
          <p:cNvPr id="84" name="Группа 83">
            <a:extLst>
              <a:ext uri="{FF2B5EF4-FFF2-40B4-BE49-F238E27FC236}">
                <a16:creationId xmlns:a16="http://schemas.microsoft.com/office/drawing/2014/main" id="{4663B8A3-60EA-4D5B-A1AD-F6286F96E2E6}"/>
              </a:ext>
            </a:extLst>
          </p:cNvPr>
          <p:cNvGrpSpPr/>
          <p:nvPr/>
        </p:nvGrpSpPr>
        <p:grpSpPr>
          <a:xfrm>
            <a:off x="7212036" y="0"/>
            <a:ext cx="10392447" cy="7750808"/>
            <a:chOff x="4092251" y="3568802"/>
            <a:chExt cx="4187681" cy="3123221"/>
          </a:xfrm>
        </p:grpSpPr>
        <p:sp>
          <p:nvSpPr>
            <p:cNvPr id="85" name="Параллелограмм 84">
              <a:extLst>
                <a:ext uri="{FF2B5EF4-FFF2-40B4-BE49-F238E27FC236}">
                  <a16:creationId xmlns:a16="http://schemas.microsoft.com/office/drawing/2014/main" id="{7597F5E0-9763-453B-87A1-F10BDE36F521}"/>
                </a:ext>
              </a:extLst>
            </p:cNvPr>
            <p:cNvSpPr/>
            <p:nvPr/>
          </p:nvSpPr>
          <p:spPr>
            <a:xfrm>
              <a:off x="4729878" y="3568802"/>
              <a:ext cx="1368152" cy="1044116"/>
            </a:xfrm>
            <a:prstGeom prst="parallelogram">
              <a:avLst>
                <a:gd name="adj" fmla="val 96195"/>
              </a:avLst>
            </a:prstGeom>
            <a:gradFill>
              <a:gsLst>
                <a:gs pos="0">
                  <a:schemeClr val="bg1"/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Параллелограмм 85">
              <a:extLst>
                <a:ext uri="{FF2B5EF4-FFF2-40B4-BE49-F238E27FC236}">
                  <a16:creationId xmlns:a16="http://schemas.microsoft.com/office/drawing/2014/main" id="{999BD44E-D68A-4EFF-9918-74BE9F21EA78}"/>
                </a:ext>
              </a:extLst>
            </p:cNvPr>
            <p:cNvSpPr/>
            <p:nvPr/>
          </p:nvSpPr>
          <p:spPr>
            <a:xfrm>
              <a:off x="5457179" y="3568802"/>
              <a:ext cx="1368152" cy="1044116"/>
            </a:xfrm>
            <a:prstGeom prst="parallelogram">
              <a:avLst>
                <a:gd name="adj" fmla="val 96195"/>
              </a:avLst>
            </a:prstGeom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Параллелограмм 86">
              <a:extLst>
                <a:ext uri="{FF2B5EF4-FFF2-40B4-BE49-F238E27FC236}">
                  <a16:creationId xmlns:a16="http://schemas.microsoft.com/office/drawing/2014/main" id="{9427EAA4-C805-402E-B705-FD19F64E4822}"/>
                </a:ext>
              </a:extLst>
            </p:cNvPr>
            <p:cNvSpPr/>
            <p:nvPr/>
          </p:nvSpPr>
          <p:spPr>
            <a:xfrm>
              <a:off x="6184480" y="3568802"/>
              <a:ext cx="1368152" cy="1044116"/>
            </a:xfrm>
            <a:prstGeom prst="parallelogram">
              <a:avLst>
                <a:gd name="adj" fmla="val 96195"/>
              </a:avLst>
            </a:prstGeom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Параллелограмм 87">
              <a:extLst>
                <a:ext uri="{FF2B5EF4-FFF2-40B4-BE49-F238E27FC236}">
                  <a16:creationId xmlns:a16="http://schemas.microsoft.com/office/drawing/2014/main" id="{716E7180-486A-4D2B-A8AE-710455C6060C}"/>
                </a:ext>
              </a:extLst>
            </p:cNvPr>
            <p:cNvSpPr/>
            <p:nvPr/>
          </p:nvSpPr>
          <p:spPr>
            <a:xfrm>
              <a:off x="6911780" y="3568802"/>
              <a:ext cx="1368152" cy="1044116"/>
            </a:xfrm>
            <a:prstGeom prst="parallelogram">
              <a:avLst>
                <a:gd name="adj" fmla="val 96195"/>
              </a:avLst>
            </a:prstGeom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Параллелограмм 88">
              <a:extLst>
                <a:ext uri="{FF2B5EF4-FFF2-40B4-BE49-F238E27FC236}">
                  <a16:creationId xmlns:a16="http://schemas.microsoft.com/office/drawing/2014/main" id="{913E5A1F-A672-47D0-B5FE-39895D66AE76}"/>
                </a:ext>
              </a:extLst>
            </p:cNvPr>
            <p:cNvSpPr/>
            <p:nvPr/>
          </p:nvSpPr>
          <p:spPr>
            <a:xfrm>
              <a:off x="4092251" y="4609323"/>
              <a:ext cx="1368152" cy="1044116"/>
            </a:xfrm>
            <a:prstGeom prst="parallelogram">
              <a:avLst>
                <a:gd name="adj" fmla="val 96195"/>
              </a:avLst>
            </a:prstGeom>
            <a:gradFill>
              <a:gsLst>
                <a:gs pos="0">
                  <a:schemeClr val="bg1">
                    <a:alpha val="5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Параллелограмм 89">
              <a:extLst>
                <a:ext uri="{FF2B5EF4-FFF2-40B4-BE49-F238E27FC236}">
                  <a16:creationId xmlns:a16="http://schemas.microsoft.com/office/drawing/2014/main" id="{CAE05A17-53E5-412A-886B-1D8A746AE7B2}"/>
                </a:ext>
              </a:extLst>
            </p:cNvPr>
            <p:cNvSpPr/>
            <p:nvPr/>
          </p:nvSpPr>
          <p:spPr>
            <a:xfrm>
              <a:off x="4819552" y="4609323"/>
              <a:ext cx="1368152" cy="1044116"/>
            </a:xfrm>
            <a:prstGeom prst="parallelogram">
              <a:avLst>
                <a:gd name="adj" fmla="val 96195"/>
              </a:avLst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Параллелограмм 90">
              <a:extLst>
                <a:ext uri="{FF2B5EF4-FFF2-40B4-BE49-F238E27FC236}">
                  <a16:creationId xmlns:a16="http://schemas.microsoft.com/office/drawing/2014/main" id="{579F3486-DC68-44AC-988D-CF50728649FF}"/>
                </a:ext>
              </a:extLst>
            </p:cNvPr>
            <p:cNvSpPr/>
            <p:nvPr/>
          </p:nvSpPr>
          <p:spPr>
            <a:xfrm>
              <a:off x="5546853" y="4609323"/>
              <a:ext cx="1368152" cy="1044116"/>
            </a:xfrm>
            <a:prstGeom prst="parallelogram">
              <a:avLst>
                <a:gd name="adj" fmla="val 96195"/>
              </a:avLst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Параллелограмм 91">
              <a:extLst>
                <a:ext uri="{FF2B5EF4-FFF2-40B4-BE49-F238E27FC236}">
                  <a16:creationId xmlns:a16="http://schemas.microsoft.com/office/drawing/2014/main" id="{A37E0056-2799-4C37-B5EB-3F5221EF50D2}"/>
                </a:ext>
              </a:extLst>
            </p:cNvPr>
            <p:cNvSpPr/>
            <p:nvPr/>
          </p:nvSpPr>
          <p:spPr>
            <a:xfrm>
              <a:off x="6274153" y="4609323"/>
              <a:ext cx="1368152" cy="1044116"/>
            </a:xfrm>
            <a:prstGeom prst="parallelogram">
              <a:avLst>
                <a:gd name="adj" fmla="val 96195"/>
              </a:avLst>
            </a:prstGeom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Параллелограмм 93">
              <a:extLst>
                <a:ext uri="{FF2B5EF4-FFF2-40B4-BE49-F238E27FC236}">
                  <a16:creationId xmlns:a16="http://schemas.microsoft.com/office/drawing/2014/main" id="{807F9569-48D8-4349-9332-F358AB63A10E}"/>
                </a:ext>
              </a:extLst>
            </p:cNvPr>
            <p:cNvSpPr/>
            <p:nvPr/>
          </p:nvSpPr>
          <p:spPr>
            <a:xfrm>
              <a:off x="4177453" y="5647907"/>
              <a:ext cx="1368152" cy="1044116"/>
            </a:xfrm>
            <a:prstGeom prst="parallelogram">
              <a:avLst>
                <a:gd name="adj" fmla="val 96195"/>
              </a:avLst>
            </a:prstGeom>
            <a:gradFill>
              <a:gsLst>
                <a:gs pos="0">
                  <a:schemeClr val="bg1">
                    <a:alpha val="5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Параллелограмм 94">
              <a:extLst>
                <a:ext uri="{FF2B5EF4-FFF2-40B4-BE49-F238E27FC236}">
                  <a16:creationId xmlns:a16="http://schemas.microsoft.com/office/drawing/2014/main" id="{2C78AFCE-43E3-47B3-AFD7-1BD1A54A1A4E}"/>
                </a:ext>
              </a:extLst>
            </p:cNvPr>
            <p:cNvSpPr/>
            <p:nvPr/>
          </p:nvSpPr>
          <p:spPr>
            <a:xfrm>
              <a:off x="4904754" y="5647907"/>
              <a:ext cx="1368152" cy="1044116"/>
            </a:xfrm>
            <a:prstGeom prst="parallelogram">
              <a:avLst>
                <a:gd name="adj" fmla="val 96195"/>
              </a:avLst>
            </a:prstGeom>
            <a:gradFill>
              <a:gsLst>
                <a:gs pos="0">
                  <a:schemeClr val="bg1">
                    <a:alpha val="5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Параллелограмм 95">
              <a:extLst>
                <a:ext uri="{FF2B5EF4-FFF2-40B4-BE49-F238E27FC236}">
                  <a16:creationId xmlns:a16="http://schemas.microsoft.com/office/drawing/2014/main" id="{51145934-161B-4C4E-80F0-9FE67BC67BA8}"/>
                </a:ext>
              </a:extLst>
            </p:cNvPr>
            <p:cNvSpPr/>
            <p:nvPr/>
          </p:nvSpPr>
          <p:spPr>
            <a:xfrm>
              <a:off x="5632054" y="5647907"/>
              <a:ext cx="1368152" cy="1044116"/>
            </a:xfrm>
            <a:prstGeom prst="parallelogram">
              <a:avLst>
                <a:gd name="adj" fmla="val 96195"/>
              </a:avLst>
            </a:prstGeom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4E2E491-BF4D-4A30-9463-2B72B7C4D68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56457" y="642938"/>
            <a:ext cx="2134695" cy="661805"/>
          </a:xfrm>
          <a:prstGeom prst="rect">
            <a:avLst/>
          </a:prstGeom>
        </p:spPr>
      </p:pic>
      <p:grpSp>
        <p:nvGrpSpPr>
          <p:cNvPr id="20" name="Группа 19"/>
          <p:cNvGrpSpPr/>
          <p:nvPr/>
        </p:nvGrpSpPr>
        <p:grpSpPr>
          <a:xfrm>
            <a:off x="727460" y="4545124"/>
            <a:ext cx="6443439" cy="18000"/>
            <a:chOff x="727460" y="4545124"/>
            <a:chExt cx="6443439" cy="18000"/>
          </a:xfrm>
        </p:grpSpPr>
        <p:sp>
          <p:nvSpPr>
            <p:cNvPr id="21" name="Прямоугольник 20"/>
            <p:cNvSpPr/>
            <p:nvPr/>
          </p:nvSpPr>
          <p:spPr>
            <a:xfrm>
              <a:off x="1014215" y="4545124"/>
              <a:ext cx="6156684" cy="18000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 defTabSz="895350">
                <a:spcAft>
                  <a:spcPts val="6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endParaRPr lang="ru-RU" sz="1200" dirty="0" smtClean="0">
                <a:solidFill>
                  <a:schemeClr val="bg1"/>
                </a:solidFill>
              </a:endParaRPr>
            </a:p>
          </p:txBody>
        </p:sp>
        <p:cxnSp>
          <p:nvCxnSpPr>
            <p:cNvPr id="22" name="Прямая соединительная линия 21"/>
            <p:cNvCxnSpPr/>
            <p:nvPr/>
          </p:nvCxnSpPr>
          <p:spPr bwMode="auto">
            <a:xfrm>
              <a:off x="727460" y="4554124"/>
              <a:ext cx="900000" cy="0"/>
            </a:xfrm>
            <a:prstGeom prst="line">
              <a:avLst/>
            </a:prstGeom>
            <a:solidFill>
              <a:schemeClr val="accent1"/>
            </a:solidFill>
            <a:ln w="508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3" name="TextBox 22"/>
          <p:cNvSpPr txBox="1"/>
          <p:nvPr/>
        </p:nvSpPr>
        <p:spPr>
          <a:xfrm>
            <a:off x="1126490" y="5049180"/>
            <a:ext cx="127958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ru-RU" sz="1400" dirty="0" smtClean="0">
                <a:solidFill>
                  <a:srgbClr val="B8B8B8"/>
                </a:solidFill>
              </a:rPr>
              <a:t>1 декабря 2022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126490" y="4756699"/>
            <a:ext cx="274235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ru-RU" sz="1400" dirty="0" smtClean="0">
                <a:solidFill>
                  <a:srgbClr val="B8B8B8"/>
                </a:solidFill>
              </a:rPr>
              <a:t>Виноградова Алена Михайловна</a:t>
            </a:r>
            <a:endParaRPr lang="ru-RU" sz="1400" dirty="0">
              <a:solidFill>
                <a:srgbClr val="B8B8B8"/>
              </a:solidFill>
            </a:endParaRPr>
          </a:p>
        </p:txBody>
      </p:sp>
      <p:pic>
        <p:nvPicPr>
          <p:cNvPr id="25" name="Graphic 17">
            <a:extLst>
              <a:ext uri="{FF2B5EF4-FFF2-40B4-BE49-F238E27FC236}">
                <a16:creationId xmlns:a16="http://schemas.microsoft.com/office/drawing/2014/main" id="{0C847E19-5434-457D-A6D6-8FB8A7FF0C13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731404" y="4738407"/>
            <a:ext cx="252028" cy="252028"/>
          </a:xfrm>
          <a:prstGeom prst="rect">
            <a:avLst/>
          </a:prstGeom>
        </p:spPr>
      </p:pic>
      <p:pic>
        <p:nvPicPr>
          <p:cNvPr id="26" name="Graphic 5">
            <a:extLst>
              <a:ext uri="{FF2B5EF4-FFF2-40B4-BE49-F238E27FC236}">
                <a16:creationId xmlns:a16="http://schemas.microsoft.com/office/drawing/2014/main" id="{3125D9BB-D090-4D0C-AF48-6EEA8A907223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760973" y="5060457"/>
            <a:ext cx="192890" cy="192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441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Заголовок 319"/>
          <p:cNvSpPr txBox="1">
            <a:spLocks noGrp="1"/>
          </p:cNvSpPr>
          <p:nvPr>
            <p:ph type="title"/>
          </p:nvPr>
        </p:nvSpPr>
        <p:spPr>
          <a:xfrm>
            <a:off x="407368" y="368660"/>
            <a:ext cx="10379286" cy="55957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Эффект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от внедрения нового ГОСТ 6713-2021</a:t>
            </a:r>
          </a:p>
        </p:txBody>
      </p:sp>
      <p:cxnSp>
        <p:nvCxnSpPr>
          <p:cNvPr id="236" name="Прямая соединительная линия 235">
            <a:extLst>
              <a:ext uri="{FF2B5EF4-FFF2-40B4-BE49-F238E27FC236}">
                <a16:creationId xmlns:a16="http://schemas.microsoft.com/office/drawing/2014/main" id="{B21A61DB-CCA6-4A42-AEDD-4CACCA41945D}"/>
              </a:ext>
            </a:extLst>
          </p:cNvPr>
          <p:cNvCxnSpPr/>
          <p:nvPr/>
        </p:nvCxnSpPr>
        <p:spPr bwMode="auto">
          <a:xfrm>
            <a:off x="443372" y="1556792"/>
            <a:ext cx="1139844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235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Прямоугольник 21"/>
          <p:cNvSpPr txBox="1"/>
          <p:nvPr/>
        </p:nvSpPr>
        <p:spPr>
          <a:xfrm>
            <a:off x="623392" y="2312876"/>
            <a:ext cx="11147473" cy="22159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500" b="1">
                <a:solidFill>
                  <a:schemeClr val="accent2"/>
                </a:solidFill>
              </a:defRPr>
            </a:lvl1pPr>
          </a:lstStyle>
          <a:p>
            <a:pPr lvl="0" hangingPunct="0">
              <a:defRPr/>
            </a:pPr>
            <a:r>
              <a:rPr lang="ru-RU" sz="2400" b="0" kern="0" dirty="0">
                <a:solidFill>
                  <a:srgbClr val="002F6C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•	Обеспечение полного </a:t>
            </a:r>
            <a:r>
              <a:rPr lang="ru-RU" sz="2400" b="0" kern="0" dirty="0" smtClean="0">
                <a:solidFill>
                  <a:srgbClr val="002F6C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замещения </a:t>
            </a:r>
            <a:r>
              <a:rPr lang="ru-RU" sz="2400" b="0" kern="0" dirty="0">
                <a:solidFill>
                  <a:srgbClr val="002F6C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украинского проката для удовлетворения потребностей важнейших инфраструктурных проектов;</a:t>
            </a:r>
          </a:p>
          <a:p>
            <a:pPr lvl="0" hangingPunct="0">
              <a:defRPr/>
            </a:pPr>
            <a:r>
              <a:rPr lang="ru-RU" sz="2400" b="0" kern="0" dirty="0">
                <a:solidFill>
                  <a:srgbClr val="002F6C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•	Снижение затрат на реализацию мостостроительных проектов благодаря удешевлению проката и металлоконструкций; </a:t>
            </a:r>
          </a:p>
          <a:p>
            <a:pPr lvl="0" hangingPunct="0">
              <a:defRPr/>
            </a:pPr>
            <a:r>
              <a:rPr lang="ru-RU" sz="2400" b="0" kern="0" dirty="0">
                <a:solidFill>
                  <a:srgbClr val="002F6C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•	Ускорение сроков реализации проектов за счет сокращения цикла производства </a:t>
            </a:r>
            <a:r>
              <a:rPr lang="ru-RU" sz="2400" b="0" kern="0" dirty="0" smtClean="0">
                <a:solidFill>
                  <a:srgbClr val="002F6C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таллопроката</a:t>
            </a:r>
            <a:endParaRPr lang="ru-RU" sz="2400" b="0" kern="0" dirty="0">
              <a:solidFill>
                <a:srgbClr val="002F6C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5097633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Заголовок 319"/>
          <p:cNvSpPr txBox="1">
            <a:spLocks noGrp="1"/>
          </p:cNvSpPr>
          <p:nvPr>
            <p:ph type="title"/>
          </p:nvPr>
        </p:nvSpPr>
        <p:spPr>
          <a:xfrm>
            <a:off x="407368" y="476672"/>
            <a:ext cx="10379286" cy="55957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Внедрение в практику мостостроения новых состояний поставки металлопроката по ГОСТ 6713-2021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6" name="Прямая соединительная линия 235">
            <a:extLst>
              <a:ext uri="{FF2B5EF4-FFF2-40B4-BE49-F238E27FC236}">
                <a16:creationId xmlns:a16="http://schemas.microsoft.com/office/drawing/2014/main" id="{B21A61DB-CCA6-4A42-AEDD-4CACCA41945D}"/>
              </a:ext>
            </a:extLst>
          </p:cNvPr>
          <p:cNvCxnSpPr/>
          <p:nvPr/>
        </p:nvCxnSpPr>
        <p:spPr bwMode="auto">
          <a:xfrm>
            <a:off x="443372" y="1556792"/>
            <a:ext cx="1139844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235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>
          <a:xfrm>
            <a:off x="6014077" y="7473103"/>
            <a:ext cx="153964" cy="135546"/>
          </a:xfrm>
        </p:spPr>
        <p:txBody>
          <a:bodyPr/>
          <a:lstStyle/>
          <a:p>
            <a:fld id="{86CB4B4D-7CA3-9044-876B-883B54F8677D}" type="slidenum">
              <a:rPr lang="ru-RU" smtClean="0"/>
              <a:t>3</a:t>
            </a:fld>
            <a:endParaRPr lang="ru-RU"/>
          </a:p>
        </p:txBody>
      </p:sp>
      <p:grpSp>
        <p:nvGrpSpPr>
          <p:cNvPr id="12" name="Группа 11"/>
          <p:cNvGrpSpPr/>
          <p:nvPr/>
        </p:nvGrpSpPr>
        <p:grpSpPr>
          <a:xfrm>
            <a:off x="443372" y="2168862"/>
            <a:ext cx="3559919" cy="1760277"/>
            <a:chOff x="412308" y="2276872"/>
            <a:chExt cx="3996000" cy="1569338"/>
          </a:xfrm>
        </p:grpSpPr>
        <p:pic>
          <p:nvPicPr>
            <p:cNvPr id="35" name="Рисунок 34">
              <a:extLst>
                <a:ext uri="{FF2B5EF4-FFF2-40B4-BE49-F238E27FC236}">
                  <a16:creationId xmlns:a16="http://schemas.microsoft.com/office/drawing/2014/main" id="{3CCB6E9B-7E86-448D-8445-161E5F3C4B4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245168" y="2335899"/>
              <a:ext cx="364960" cy="232879"/>
            </a:xfrm>
            <a:prstGeom prst="rect">
              <a:avLst/>
            </a:prstGeom>
          </p:spPr>
        </p:pic>
        <p:grpSp>
          <p:nvGrpSpPr>
            <p:cNvPr id="38" name="Группа 37">
              <a:extLst>
                <a:ext uri="{FF2B5EF4-FFF2-40B4-BE49-F238E27FC236}">
                  <a16:creationId xmlns:a16="http://schemas.microsoft.com/office/drawing/2014/main" id="{398F39C2-43A1-46EA-8822-286F906AE03A}"/>
                </a:ext>
              </a:extLst>
            </p:cNvPr>
            <p:cNvGrpSpPr/>
            <p:nvPr/>
          </p:nvGrpSpPr>
          <p:grpSpPr>
            <a:xfrm>
              <a:off x="417334" y="2276872"/>
              <a:ext cx="671162" cy="236982"/>
              <a:chOff x="-3763443" y="-323730"/>
              <a:chExt cx="1976035" cy="697722"/>
            </a:xfrm>
          </p:grpSpPr>
          <p:grpSp>
            <p:nvGrpSpPr>
              <p:cNvPr id="39" name="Рисунок 3">
                <a:extLst>
                  <a:ext uri="{FF2B5EF4-FFF2-40B4-BE49-F238E27FC236}">
                    <a16:creationId xmlns:a16="http://schemas.microsoft.com/office/drawing/2014/main" id="{8FD7640E-7111-45F9-BB3D-278E8D34B5F5}"/>
                  </a:ext>
                </a:extLst>
              </p:cNvPr>
              <p:cNvGrpSpPr/>
              <p:nvPr/>
            </p:nvGrpSpPr>
            <p:grpSpPr>
              <a:xfrm>
                <a:off x="-2697295" y="-323730"/>
                <a:ext cx="909887" cy="697722"/>
                <a:chOff x="6096000" y="1105251"/>
                <a:chExt cx="909887" cy="697722"/>
              </a:xfrm>
              <a:solidFill>
                <a:schemeClr val="accent1"/>
              </a:solidFill>
            </p:grpSpPr>
            <p:sp>
              <p:nvSpPr>
                <p:cNvPr id="43" name="Полилиния: фигура 184">
                  <a:extLst>
                    <a:ext uri="{FF2B5EF4-FFF2-40B4-BE49-F238E27FC236}">
                      <a16:creationId xmlns:a16="http://schemas.microsoft.com/office/drawing/2014/main" id="{ABD1861E-B389-41EF-9D91-F7F8CA63989A}"/>
                    </a:ext>
                  </a:extLst>
                </p:cNvPr>
                <p:cNvSpPr/>
                <p:nvPr/>
              </p:nvSpPr>
              <p:spPr>
                <a:xfrm>
                  <a:off x="6108815" y="1753136"/>
                  <a:ext cx="897072" cy="49837"/>
                </a:xfrm>
                <a:custGeom>
                  <a:avLst/>
                  <a:gdLst>
                    <a:gd name="connsiteX0" fmla="*/ 0 w 897072"/>
                    <a:gd name="connsiteY0" fmla="*/ 0 h 49837"/>
                    <a:gd name="connsiteX1" fmla="*/ 897072 w 897072"/>
                    <a:gd name="connsiteY1" fmla="*/ 0 h 49837"/>
                    <a:gd name="connsiteX2" fmla="*/ 897072 w 897072"/>
                    <a:gd name="connsiteY2" fmla="*/ 49837 h 49837"/>
                    <a:gd name="connsiteX3" fmla="*/ 0 w 897072"/>
                    <a:gd name="connsiteY3" fmla="*/ 49837 h 49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7072" h="49837">
                      <a:moveTo>
                        <a:pt x="0" y="0"/>
                      </a:moveTo>
                      <a:lnTo>
                        <a:pt x="897072" y="0"/>
                      </a:lnTo>
                      <a:lnTo>
                        <a:pt x="897072" y="49837"/>
                      </a:lnTo>
                      <a:lnTo>
                        <a:pt x="0" y="49837"/>
                      </a:lnTo>
                      <a:close/>
                    </a:path>
                  </a:pathLst>
                </a:custGeom>
                <a:grpFill/>
                <a:ln w="71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4" name="Полилиния: фигура 185">
                  <a:extLst>
                    <a:ext uri="{FF2B5EF4-FFF2-40B4-BE49-F238E27FC236}">
                      <a16:creationId xmlns:a16="http://schemas.microsoft.com/office/drawing/2014/main" id="{DD5E6705-2692-4ABA-927A-22D3A49F07E9}"/>
                    </a:ext>
                  </a:extLst>
                </p:cNvPr>
                <p:cNvSpPr/>
                <p:nvPr/>
              </p:nvSpPr>
              <p:spPr>
                <a:xfrm>
                  <a:off x="6096000" y="1105251"/>
                  <a:ext cx="511188" cy="220708"/>
                </a:xfrm>
                <a:custGeom>
                  <a:avLst/>
                  <a:gdLst>
                    <a:gd name="connsiteX0" fmla="*/ 24919 w 511188"/>
                    <a:gd name="connsiteY0" fmla="*/ 220708 h 220708"/>
                    <a:gd name="connsiteX1" fmla="*/ 0 w 511188"/>
                    <a:gd name="connsiteY1" fmla="*/ 177990 h 220708"/>
                    <a:gd name="connsiteX2" fmla="*/ 304720 w 511188"/>
                    <a:gd name="connsiteY2" fmla="*/ 0 h 220708"/>
                    <a:gd name="connsiteX3" fmla="*/ 511189 w 511188"/>
                    <a:gd name="connsiteY3" fmla="*/ 0 h 220708"/>
                    <a:gd name="connsiteX4" fmla="*/ 511189 w 511188"/>
                    <a:gd name="connsiteY4" fmla="*/ 49837 h 220708"/>
                    <a:gd name="connsiteX5" fmla="*/ 318247 w 511188"/>
                    <a:gd name="connsiteY5" fmla="*/ 49837 h 2207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11188" h="220708">
                      <a:moveTo>
                        <a:pt x="24919" y="220708"/>
                      </a:moveTo>
                      <a:lnTo>
                        <a:pt x="0" y="177990"/>
                      </a:lnTo>
                      <a:lnTo>
                        <a:pt x="304720" y="0"/>
                      </a:lnTo>
                      <a:lnTo>
                        <a:pt x="511189" y="0"/>
                      </a:lnTo>
                      <a:lnTo>
                        <a:pt x="511189" y="49837"/>
                      </a:lnTo>
                      <a:lnTo>
                        <a:pt x="318247" y="49837"/>
                      </a:lnTo>
                      <a:close/>
                    </a:path>
                  </a:pathLst>
                </a:custGeom>
                <a:grpFill/>
                <a:ln w="71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5" name="Полилиния: фигура 186">
                  <a:extLst>
                    <a:ext uri="{FF2B5EF4-FFF2-40B4-BE49-F238E27FC236}">
                      <a16:creationId xmlns:a16="http://schemas.microsoft.com/office/drawing/2014/main" id="{E0F9C385-02D1-4F65-8EAE-FA4F68B39C96}"/>
                    </a:ext>
                  </a:extLst>
                </p:cNvPr>
                <p:cNvSpPr/>
                <p:nvPr/>
              </p:nvSpPr>
              <p:spPr>
                <a:xfrm>
                  <a:off x="6555927" y="1204925"/>
                  <a:ext cx="49837" cy="573129"/>
                </a:xfrm>
                <a:custGeom>
                  <a:avLst/>
                  <a:gdLst>
                    <a:gd name="connsiteX0" fmla="*/ 0 w 49837"/>
                    <a:gd name="connsiteY0" fmla="*/ 0 h 573129"/>
                    <a:gd name="connsiteX1" fmla="*/ 49837 w 49837"/>
                    <a:gd name="connsiteY1" fmla="*/ 0 h 573129"/>
                    <a:gd name="connsiteX2" fmla="*/ 49837 w 49837"/>
                    <a:gd name="connsiteY2" fmla="*/ 573129 h 573129"/>
                    <a:gd name="connsiteX3" fmla="*/ 0 w 49837"/>
                    <a:gd name="connsiteY3" fmla="*/ 573129 h 5731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837" h="573129">
                      <a:moveTo>
                        <a:pt x="0" y="0"/>
                      </a:moveTo>
                      <a:lnTo>
                        <a:pt x="49837" y="0"/>
                      </a:lnTo>
                      <a:lnTo>
                        <a:pt x="49837" y="573129"/>
                      </a:lnTo>
                      <a:lnTo>
                        <a:pt x="0" y="573129"/>
                      </a:lnTo>
                      <a:close/>
                    </a:path>
                  </a:pathLst>
                </a:custGeom>
                <a:grpFill/>
                <a:ln w="71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0" name="Рисунок 3">
                <a:extLst>
                  <a:ext uri="{FF2B5EF4-FFF2-40B4-BE49-F238E27FC236}">
                    <a16:creationId xmlns:a16="http://schemas.microsoft.com/office/drawing/2014/main" id="{370D18F2-EB98-4CE3-A2BB-9C4CBC3F936B}"/>
                  </a:ext>
                </a:extLst>
              </p:cNvPr>
              <p:cNvGrpSpPr/>
              <p:nvPr/>
            </p:nvGrpSpPr>
            <p:grpSpPr>
              <a:xfrm>
                <a:off x="-3763443" y="-323730"/>
                <a:ext cx="897072" cy="697722"/>
                <a:chOff x="6108815" y="5291586"/>
                <a:chExt cx="897072" cy="697722"/>
              </a:xfrm>
              <a:solidFill>
                <a:schemeClr val="accent1"/>
              </a:solidFill>
            </p:grpSpPr>
            <p:sp>
              <p:nvSpPr>
                <p:cNvPr id="41" name="Полилиния: фигура 182">
                  <a:extLst>
                    <a:ext uri="{FF2B5EF4-FFF2-40B4-BE49-F238E27FC236}">
                      <a16:creationId xmlns:a16="http://schemas.microsoft.com/office/drawing/2014/main" id="{6AA2C31E-5BF2-4ED0-985E-34BE1E2B2818}"/>
                    </a:ext>
                  </a:extLst>
                </p:cNvPr>
                <p:cNvSpPr/>
                <p:nvPr/>
              </p:nvSpPr>
              <p:spPr>
                <a:xfrm>
                  <a:off x="6313860" y="5300130"/>
                  <a:ext cx="536107" cy="589504"/>
                </a:xfrm>
                <a:custGeom>
                  <a:avLst/>
                  <a:gdLst>
                    <a:gd name="connsiteX0" fmla="*/ 64789 w 536107"/>
                    <a:gd name="connsiteY0" fmla="*/ 589504 h 589504"/>
                    <a:gd name="connsiteX1" fmla="*/ 536107 w 536107"/>
                    <a:gd name="connsiteY1" fmla="*/ 32750 h 589504"/>
                    <a:gd name="connsiteX2" fmla="*/ 498373 w 536107"/>
                    <a:gd name="connsiteY2" fmla="*/ 0 h 589504"/>
                    <a:gd name="connsiteX3" fmla="*/ 0 w 536107"/>
                    <a:gd name="connsiteY3" fmla="*/ 589504 h 589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36107" h="589504">
                      <a:moveTo>
                        <a:pt x="64789" y="589504"/>
                      </a:moveTo>
                      <a:lnTo>
                        <a:pt x="536107" y="32750"/>
                      </a:lnTo>
                      <a:lnTo>
                        <a:pt x="498373" y="0"/>
                      </a:lnTo>
                      <a:lnTo>
                        <a:pt x="0" y="589504"/>
                      </a:lnTo>
                      <a:close/>
                    </a:path>
                  </a:pathLst>
                </a:custGeom>
                <a:grpFill/>
                <a:ln w="71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2" name="Полилиния: фигура 183">
                  <a:extLst>
                    <a:ext uri="{FF2B5EF4-FFF2-40B4-BE49-F238E27FC236}">
                      <a16:creationId xmlns:a16="http://schemas.microsoft.com/office/drawing/2014/main" id="{52613935-5EC6-4011-912E-1C02F3F08609}"/>
                    </a:ext>
                  </a:extLst>
                </p:cNvPr>
                <p:cNvSpPr/>
                <p:nvPr/>
              </p:nvSpPr>
              <p:spPr>
                <a:xfrm>
                  <a:off x="6108815" y="5291586"/>
                  <a:ext cx="897072" cy="697722"/>
                </a:xfrm>
                <a:custGeom>
                  <a:avLst/>
                  <a:gdLst>
                    <a:gd name="connsiteX0" fmla="*/ 757527 w 897072"/>
                    <a:gd name="connsiteY0" fmla="*/ 697723 h 697722"/>
                    <a:gd name="connsiteX1" fmla="*/ 138833 w 897072"/>
                    <a:gd name="connsiteY1" fmla="*/ 697723 h 697722"/>
                    <a:gd name="connsiteX2" fmla="*/ 0 w 897072"/>
                    <a:gd name="connsiteY2" fmla="*/ 558178 h 697722"/>
                    <a:gd name="connsiteX3" fmla="*/ 0 w 897072"/>
                    <a:gd name="connsiteY3" fmla="*/ 138833 h 697722"/>
                    <a:gd name="connsiteX4" fmla="*/ 138833 w 897072"/>
                    <a:gd name="connsiteY4" fmla="*/ 0 h 697722"/>
                    <a:gd name="connsiteX5" fmla="*/ 757527 w 897072"/>
                    <a:gd name="connsiteY5" fmla="*/ 0 h 697722"/>
                    <a:gd name="connsiteX6" fmla="*/ 897072 w 897072"/>
                    <a:gd name="connsiteY6" fmla="*/ 139544 h 697722"/>
                    <a:gd name="connsiteX7" fmla="*/ 897072 w 897072"/>
                    <a:gd name="connsiteY7" fmla="*/ 558890 h 697722"/>
                    <a:gd name="connsiteX8" fmla="*/ 757527 w 897072"/>
                    <a:gd name="connsiteY8" fmla="*/ 697723 h 697722"/>
                    <a:gd name="connsiteX9" fmla="*/ 159479 w 897072"/>
                    <a:gd name="connsiteY9" fmla="*/ 647885 h 697722"/>
                    <a:gd name="connsiteX10" fmla="*/ 736881 w 897072"/>
                    <a:gd name="connsiteY10" fmla="*/ 647885 h 697722"/>
                    <a:gd name="connsiteX11" fmla="*/ 846523 w 897072"/>
                    <a:gd name="connsiteY11" fmla="*/ 538243 h 697722"/>
                    <a:gd name="connsiteX12" fmla="*/ 846523 w 897072"/>
                    <a:gd name="connsiteY12" fmla="*/ 160191 h 697722"/>
                    <a:gd name="connsiteX13" fmla="*/ 736881 w 897072"/>
                    <a:gd name="connsiteY13" fmla="*/ 49837 h 697722"/>
                    <a:gd name="connsiteX14" fmla="*/ 159479 w 897072"/>
                    <a:gd name="connsiteY14" fmla="*/ 49837 h 697722"/>
                    <a:gd name="connsiteX15" fmla="*/ 49837 w 897072"/>
                    <a:gd name="connsiteY15" fmla="*/ 159480 h 697722"/>
                    <a:gd name="connsiteX16" fmla="*/ 49837 w 897072"/>
                    <a:gd name="connsiteY16" fmla="*/ 537531 h 697722"/>
                    <a:gd name="connsiteX17" fmla="*/ 159479 w 897072"/>
                    <a:gd name="connsiteY17" fmla="*/ 647885 h 6977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897072" h="697722">
                      <a:moveTo>
                        <a:pt x="757527" y="697723"/>
                      </a:moveTo>
                      <a:lnTo>
                        <a:pt x="138833" y="697723"/>
                      </a:lnTo>
                      <a:lnTo>
                        <a:pt x="0" y="558178"/>
                      </a:lnTo>
                      <a:lnTo>
                        <a:pt x="0" y="138833"/>
                      </a:lnTo>
                      <a:lnTo>
                        <a:pt x="138833" y="0"/>
                      </a:lnTo>
                      <a:lnTo>
                        <a:pt x="757527" y="0"/>
                      </a:lnTo>
                      <a:lnTo>
                        <a:pt x="897072" y="139544"/>
                      </a:lnTo>
                      <a:lnTo>
                        <a:pt x="897072" y="558890"/>
                      </a:lnTo>
                      <a:lnTo>
                        <a:pt x="757527" y="697723"/>
                      </a:lnTo>
                      <a:close/>
                      <a:moveTo>
                        <a:pt x="159479" y="647885"/>
                      </a:moveTo>
                      <a:lnTo>
                        <a:pt x="736881" y="647885"/>
                      </a:lnTo>
                      <a:lnTo>
                        <a:pt x="846523" y="538243"/>
                      </a:lnTo>
                      <a:lnTo>
                        <a:pt x="846523" y="160191"/>
                      </a:lnTo>
                      <a:lnTo>
                        <a:pt x="736881" y="49837"/>
                      </a:lnTo>
                      <a:lnTo>
                        <a:pt x="159479" y="49837"/>
                      </a:lnTo>
                      <a:lnTo>
                        <a:pt x="49837" y="159480"/>
                      </a:lnTo>
                      <a:lnTo>
                        <a:pt x="49837" y="537531"/>
                      </a:lnTo>
                      <a:lnTo>
                        <a:pt x="159479" y="647885"/>
                      </a:lnTo>
                      <a:close/>
                    </a:path>
                  </a:pathLst>
                </a:custGeom>
                <a:grpFill/>
                <a:ln w="71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70" name="Rectangle 47">
              <a:extLst>
                <a:ext uri="{FF2B5EF4-FFF2-40B4-BE49-F238E27FC236}">
                  <a16:creationId xmlns:a16="http://schemas.microsoft.com/office/drawing/2014/main" id="{409F4EBC-E37D-4E4D-88B2-8B58048AEFD1}"/>
                </a:ext>
              </a:extLst>
            </p:cNvPr>
            <p:cNvSpPr>
              <a:spLocks/>
            </p:cNvSpPr>
            <p:nvPr/>
          </p:nvSpPr>
          <p:spPr>
            <a:xfrm>
              <a:off x="412308" y="2758350"/>
              <a:ext cx="3996000" cy="576853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square" lIns="0" tIns="0" rIns="0" bIns="0" rtlCol="0" anchor="t" anchorCtr="0">
              <a:noAutofit/>
            </a:bodyPr>
            <a:lstStyle/>
            <a:p>
              <a:r>
                <a:rPr lang="ru-RU" sz="1200" b="1" kern="0" dirty="0" smtClean="0">
                  <a:solidFill>
                    <a:srgbClr val="002F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ересмотр ГОСТ 6713  «Прокат из конструкционной стали для мостостроения»</a:t>
              </a:r>
              <a:endParaRPr lang="ru-RU" sz="1200" b="1" kern="0" dirty="0">
                <a:solidFill>
                  <a:srgbClr val="002F6C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71" name="Прямоугольник 70">
              <a:extLst>
                <a:ext uri="{FF2B5EF4-FFF2-40B4-BE49-F238E27FC236}">
                  <a16:creationId xmlns:a16="http://schemas.microsoft.com/office/drawing/2014/main" id="{47D4740B-EEC9-4987-8AF7-69638F0EC4B8}"/>
                </a:ext>
              </a:extLst>
            </p:cNvPr>
            <p:cNvSpPr/>
            <p:nvPr/>
          </p:nvSpPr>
          <p:spPr>
            <a:xfrm>
              <a:off x="412308" y="3400323"/>
              <a:ext cx="3995999" cy="445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marR="0" lvl="0" indent="-17145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>
                    <a:lumMod val="75000"/>
                  </a:schemeClr>
                </a:buClr>
                <a:buSzTx/>
                <a:buFont typeface="Courier New" panose="02070309020205020404" pitchFamily="49" charset="0"/>
                <a:buChar char="─"/>
                <a:tabLst/>
                <a:defRPr/>
              </a:pPr>
              <a:r>
                <a:rPr kumimoji="0" lang="ru-RU" sz="1200" b="0" i="0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Начало пересмотра - 2018 год</a:t>
              </a:r>
            </a:p>
            <a:p>
              <a:pPr marL="171450" marR="0" lvl="0" indent="-171450" algn="l" defTabSz="932962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>
                    <a:lumMod val="75000"/>
                  </a:schemeClr>
                </a:buClr>
                <a:buSzTx/>
                <a:buFont typeface="Courier New" panose="02070309020205020404" pitchFamily="49" charset="0"/>
                <a:buChar char="─"/>
                <a:tabLst/>
                <a:defRPr/>
              </a:pPr>
              <a:r>
                <a:rPr lang="ru-RU" sz="12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ведение в действие 15 марта 2022 года</a:t>
              </a: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4331804" y="2168860"/>
            <a:ext cx="3636404" cy="3765946"/>
            <a:chOff x="4764208" y="2276872"/>
            <a:chExt cx="3240000" cy="2987980"/>
          </a:xfrm>
        </p:grpSpPr>
        <p:sp>
          <p:nvSpPr>
            <p:cNvPr id="80" name="Пятиугольник 14">
              <a:extLst>
                <a:ext uri="{FF2B5EF4-FFF2-40B4-BE49-F238E27FC236}">
                  <a16:creationId xmlns:a16="http://schemas.microsoft.com/office/drawing/2014/main" id="{6F00D2AE-7D9B-491F-8D75-3145BF7D8244}"/>
                </a:ext>
              </a:extLst>
            </p:cNvPr>
            <p:cNvSpPr/>
            <p:nvPr/>
          </p:nvSpPr>
          <p:spPr>
            <a:xfrm>
              <a:off x="7071358" y="3152399"/>
              <a:ext cx="73573" cy="186030"/>
            </a:xfrm>
            <a:custGeom>
              <a:avLst/>
              <a:gdLst>
                <a:gd name="connsiteX0" fmla="*/ 0 w 1930168"/>
                <a:gd name="connsiteY0" fmla="*/ 0 h 553959"/>
                <a:gd name="connsiteX1" fmla="*/ 1767487 w 1930168"/>
                <a:gd name="connsiteY1" fmla="*/ 0 h 553959"/>
                <a:gd name="connsiteX2" fmla="*/ 1930168 w 1930168"/>
                <a:gd name="connsiteY2" fmla="*/ 276980 h 553959"/>
                <a:gd name="connsiteX3" fmla="*/ 1767487 w 1930168"/>
                <a:gd name="connsiteY3" fmla="*/ 553959 h 553959"/>
                <a:gd name="connsiteX4" fmla="*/ 0 w 1930168"/>
                <a:gd name="connsiteY4" fmla="*/ 553959 h 553959"/>
                <a:gd name="connsiteX5" fmla="*/ 162681 w 1930168"/>
                <a:gd name="connsiteY5" fmla="*/ 276980 h 553959"/>
                <a:gd name="connsiteX6" fmla="*/ 0 w 1930168"/>
                <a:gd name="connsiteY6" fmla="*/ 0 h 553959"/>
                <a:gd name="connsiteX0" fmla="*/ 162681 w 1930168"/>
                <a:gd name="connsiteY0" fmla="*/ 276980 h 553959"/>
                <a:gd name="connsiteX1" fmla="*/ 0 w 1930168"/>
                <a:gd name="connsiteY1" fmla="*/ 0 h 553959"/>
                <a:gd name="connsiteX2" fmla="*/ 1767487 w 1930168"/>
                <a:gd name="connsiteY2" fmla="*/ 0 h 553959"/>
                <a:gd name="connsiteX3" fmla="*/ 1930168 w 1930168"/>
                <a:gd name="connsiteY3" fmla="*/ 276980 h 553959"/>
                <a:gd name="connsiteX4" fmla="*/ 1767487 w 1930168"/>
                <a:gd name="connsiteY4" fmla="*/ 553959 h 553959"/>
                <a:gd name="connsiteX5" fmla="*/ 0 w 1930168"/>
                <a:gd name="connsiteY5" fmla="*/ 553959 h 553959"/>
                <a:gd name="connsiteX6" fmla="*/ 254121 w 1930168"/>
                <a:gd name="connsiteY6" fmla="*/ 368420 h 553959"/>
                <a:gd name="connsiteX0" fmla="*/ 162681 w 1930168"/>
                <a:gd name="connsiteY0" fmla="*/ 276980 h 553959"/>
                <a:gd name="connsiteX1" fmla="*/ 0 w 1930168"/>
                <a:gd name="connsiteY1" fmla="*/ 0 h 553959"/>
                <a:gd name="connsiteX2" fmla="*/ 1767487 w 1930168"/>
                <a:gd name="connsiteY2" fmla="*/ 0 h 553959"/>
                <a:gd name="connsiteX3" fmla="*/ 1930168 w 1930168"/>
                <a:gd name="connsiteY3" fmla="*/ 276980 h 553959"/>
                <a:gd name="connsiteX4" fmla="*/ 1767487 w 1930168"/>
                <a:gd name="connsiteY4" fmla="*/ 553959 h 553959"/>
                <a:gd name="connsiteX5" fmla="*/ 0 w 1930168"/>
                <a:gd name="connsiteY5" fmla="*/ 553959 h 553959"/>
                <a:gd name="connsiteX0" fmla="*/ 0 w 1930168"/>
                <a:gd name="connsiteY0" fmla="*/ 0 h 553959"/>
                <a:gd name="connsiteX1" fmla="*/ 1767487 w 1930168"/>
                <a:gd name="connsiteY1" fmla="*/ 0 h 553959"/>
                <a:gd name="connsiteX2" fmla="*/ 1930168 w 1930168"/>
                <a:gd name="connsiteY2" fmla="*/ 276980 h 553959"/>
                <a:gd name="connsiteX3" fmla="*/ 1767487 w 1930168"/>
                <a:gd name="connsiteY3" fmla="*/ 553959 h 553959"/>
                <a:gd name="connsiteX4" fmla="*/ 0 w 1930168"/>
                <a:gd name="connsiteY4" fmla="*/ 553959 h 553959"/>
                <a:gd name="connsiteX0" fmla="*/ 1767487 w 1930168"/>
                <a:gd name="connsiteY0" fmla="*/ 0 h 553959"/>
                <a:gd name="connsiteX1" fmla="*/ 1930168 w 1930168"/>
                <a:gd name="connsiteY1" fmla="*/ 276980 h 553959"/>
                <a:gd name="connsiteX2" fmla="*/ 1767487 w 1930168"/>
                <a:gd name="connsiteY2" fmla="*/ 553959 h 553959"/>
                <a:gd name="connsiteX3" fmla="*/ 0 w 1930168"/>
                <a:gd name="connsiteY3" fmla="*/ 553959 h 553959"/>
                <a:gd name="connsiteX0" fmla="*/ 0 w 162681"/>
                <a:gd name="connsiteY0" fmla="*/ 0 h 553959"/>
                <a:gd name="connsiteX1" fmla="*/ 162681 w 162681"/>
                <a:gd name="connsiteY1" fmla="*/ 276980 h 553959"/>
                <a:gd name="connsiteX2" fmla="*/ 0 w 162681"/>
                <a:gd name="connsiteY2" fmla="*/ 553959 h 55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2681" h="553959">
                  <a:moveTo>
                    <a:pt x="0" y="0"/>
                  </a:moveTo>
                  <a:lnTo>
                    <a:pt x="162681" y="276980"/>
                  </a:lnTo>
                  <a:lnTo>
                    <a:pt x="0" y="553959"/>
                  </a:lnTo>
                </a:path>
              </a:pathLst>
            </a:custGeom>
            <a:noFill/>
            <a:ln w="12700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" sz="129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pic>
          <p:nvPicPr>
            <p:cNvPr id="36" name="Рисунок 35">
              <a:extLst>
                <a:ext uri="{FF2B5EF4-FFF2-40B4-BE49-F238E27FC236}">
                  <a16:creationId xmlns:a16="http://schemas.microsoft.com/office/drawing/2014/main" id="{39A76014-9DB8-45A8-9B86-790F03F27E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637090" y="2335899"/>
              <a:ext cx="364960" cy="232879"/>
            </a:xfrm>
            <a:prstGeom prst="rect">
              <a:avLst/>
            </a:prstGeom>
          </p:spPr>
        </p:pic>
        <p:grpSp>
          <p:nvGrpSpPr>
            <p:cNvPr id="46" name="Группа 45">
              <a:extLst>
                <a:ext uri="{FF2B5EF4-FFF2-40B4-BE49-F238E27FC236}">
                  <a16:creationId xmlns:a16="http://schemas.microsoft.com/office/drawing/2014/main" id="{CD5C7B9E-BE0A-46FE-A090-EECD3666B765}"/>
                </a:ext>
              </a:extLst>
            </p:cNvPr>
            <p:cNvGrpSpPr/>
            <p:nvPr/>
          </p:nvGrpSpPr>
          <p:grpSpPr>
            <a:xfrm>
              <a:off x="4764208" y="2276872"/>
              <a:ext cx="672009" cy="236982"/>
              <a:chOff x="-3763443" y="1022228"/>
              <a:chExt cx="1978527" cy="697722"/>
            </a:xfrm>
          </p:grpSpPr>
          <p:grpSp>
            <p:nvGrpSpPr>
              <p:cNvPr id="48" name="Рисунок 3">
                <a:extLst>
                  <a:ext uri="{FF2B5EF4-FFF2-40B4-BE49-F238E27FC236}">
                    <a16:creationId xmlns:a16="http://schemas.microsoft.com/office/drawing/2014/main" id="{24071FCE-8D5D-4A03-B52F-1836C32A7F90}"/>
                  </a:ext>
                </a:extLst>
              </p:cNvPr>
              <p:cNvGrpSpPr/>
              <p:nvPr/>
            </p:nvGrpSpPr>
            <p:grpSpPr>
              <a:xfrm>
                <a:off x="-3763443" y="1022228"/>
                <a:ext cx="897072" cy="697722"/>
                <a:chOff x="6108815" y="5291586"/>
                <a:chExt cx="897072" cy="697722"/>
              </a:xfrm>
              <a:solidFill>
                <a:schemeClr val="accent1"/>
              </a:solidFill>
            </p:grpSpPr>
            <p:sp>
              <p:nvSpPr>
                <p:cNvPr id="56" name="Полилиния: фигура 192">
                  <a:extLst>
                    <a:ext uri="{FF2B5EF4-FFF2-40B4-BE49-F238E27FC236}">
                      <a16:creationId xmlns:a16="http://schemas.microsoft.com/office/drawing/2014/main" id="{C6C1990F-6820-4155-81CE-333A2167B2A3}"/>
                    </a:ext>
                  </a:extLst>
                </p:cNvPr>
                <p:cNvSpPr/>
                <p:nvPr/>
              </p:nvSpPr>
              <p:spPr>
                <a:xfrm>
                  <a:off x="6313860" y="5300130"/>
                  <a:ext cx="536107" cy="589504"/>
                </a:xfrm>
                <a:custGeom>
                  <a:avLst/>
                  <a:gdLst>
                    <a:gd name="connsiteX0" fmla="*/ 64789 w 536107"/>
                    <a:gd name="connsiteY0" fmla="*/ 589504 h 589504"/>
                    <a:gd name="connsiteX1" fmla="*/ 536107 w 536107"/>
                    <a:gd name="connsiteY1" fmla="*/ 32750 h 589504"/>
                    <a:gd name="connsiteX2" fmla="*/ 498373 w 536107"/>
                    <a:gd name="connsiteY2" fmla="*/ 0 h 589504"/>
                    <a:gd name="connsiteX3" fmla="*/ 0 w 536107"/>
                    <a:gd name="connsiteY3" fmla="*/ 589504 h 589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36107" h="589504">
                      <a:moveTo>
                        <a:pt x="64789" y="589504"/>
                      </a:moveTo>
                      <a:lnTo>
                        <a:pt x="536107" y="32750"/>
                      </a:lnTo>
                      <a:lnTo>
                        <a:pt x="498373" y="0"/>
                      </a:lnTo>
                      <a:lnTo>
                        <a:pt x="0" y="589504"/>
                      </a:lnTo>
                      <a:close/>
                    </a:path>
                  </a:pathLst>
                </a:custGeom>
                <a:grpFill/>
                <a:ln w="71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7" name="Полилиния: фигура 194">
                  <a:extLst>
                    <a:ext uri="{FF2B5EF4-FFF2-40B4-BE49-F238E27FC236}">
                      <a16:creationId xmlns:a16="http://schemas.microsoft.com/office/drawing/2014/main" id="{DCDD4DA8-26FA-42A5-A3EC-6B6CED91CAA8}"/>
                    </a:ext>
                  </a:extLst>
                </p:cNvPr>
                <p:cNvSpPr/>
                <p:nvPr/>
              </p:nvSpPr>
              <p:spPr>
                <a:xfrm>
                  <a:off x="6108815" y="5291586"/>
                  <a:ext cx="897072" cy="697722"/>
                </a:xfrm>
                <a:custGeom>
                  <a:avLst/>
                  <a:gdLst>
                    <a:gd name="connsiteX0" fmla="*/ 757527 w 897072"/>
                    <a:gd name="connsiteY0" fmla="*/ 697723 h 697722"/>
                    <a:gd name="connsiteX1" fmla="*/ 138833 w 897072"/>
                    <a:gd name="connsiteY1" fmla="*/ 697723 h 697722"/>
                    <a:gd name="connsiteX2" fmla="*/ 0 w 897072"/>
                    <a:gd name="connsiteY2" fmla="*/ 558178 h 697722"/>
                    <a:gd name="connsiteX3" fmla="*/ 0 w 897072"/>
                    <a:gd name="connsiteY3" fmla="*/ 138833 h 697722"/>
                    <a:gd name="connsiteX4" fmla="*/ 138833 w 897072"/>
                    <a:gd name="connsiteY4" fmla="*/ 0 h 697722"/>
                    <a:gd name="connsiteX5" fmla="*/ 757527 w 897072"/>
                    <a:gd name="connsiteY5" fmla="*/ 0 h 697722"/>
                    <a:gd name="connsiteX6" fmla="*/ 897072 w 897072"/>
                    <a:gd name="connsiteY6" fmla="*/ 139544 h 697722"/>
                    <a:gd name="connsiteX7" fmla="*/ 897072 w 897072"/>
                    <a:gd name="connsiteY7" fmla="*/ 558890 h 697722"/>
                    <a:gd name="connsiteX8" fmla="*/ 757527 w 897072"/>
                    <a:gd name="connsiteY8" fmla="*/ 697723 h 697722"/>
                    <a:gd name="connsiteX9" fmla="*/ 159479 w 897072"/>
                    <a:gd name="connsiteY9" fmla="*/ 647885 h 697722"/>
                    <a:gd name="connsiteX10" fmla="*/ 736881 w 897072"/>
                    <a:gd name="connsiteY10" fmla="*/ 647885 h 697722"/>
                    <a:gd name="connsiteX11" fmla="*/ 846523 w 897072"/>
                    <a:gd name="connsiteY11" fmla="*/ 538243 h 697722"/>
                    <a:gd name="connsiteX12" fmla="*/ 846523 w 897072"/>
                    <a:gd name="connsiteY12" fmla="*/ 160191 h 697722"/>
                    <a:gd name="connsiteX13" fmla="*/ 736881 w 897072"/>
                    <a:gd name="connsiteY13" fmla="*/ 49837 h 697722"/>
                    <a:gd name="connsiteX14" fmla="*/ 159479 w 897072"/>
                    <a:gd name="connsiteY14" fmla="*/ 49837 h 697722"/>
                    <a:gd name="connsiteX15" fmla="*/ 49837 w 897072"/>
                    <a:gd name="connsiteY15" fmla="*/ 159480 h 697722"/>
                    <a:gd name="connsiteX16" fmla="*/ 49837 w 897072"/>
                    <a:gd name="connsiteY16" fmla="*/ 537531 h 697722"/>
                    <a:gd name="connsiteX17" fmla="*/ 159479 w 897072"/>
                    <a:gd name="connsiteY17" fmla="*/ 647885 h 6977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897072" h="697722">
                      <a:moveTo>
                        <a:pt x="757527" y="697723"/>
                      </a:moveTo>
                      <a:lnTo>
                        <a:pt x="138833" y="697723"/>
                      </a:lnTo>
                      <a:lnTo>
                        <a:pt x="0" y="558178"/>
                      </a:lnTo>
                      <a:lnTo>
                        <a:pt x="0" y="138833"/>
                      </a:lnTo>
                      <a:lnTo>
                        <a:pt x="138833" y="0"/>
                      </a:lnTo>
                      <a:lnTo>
                        <a:pt x="757527" y="0"/>
                      </a:lnTo>
                      <a:lnTo>
                        <a:pt x="897072" y="139544"/>
                      </a:lnTo>
                      <a:lnTo>
                        <a:pt x="897072" y="558890"/>
                      </a:lnTo>
                      <a:lnTo>
                        <a:pt x="757527" y="697723"/>
                      </a:lnTo>
                      <a:close/>
                      <a:moveTo>
                        <a:pt x="159479" y="647885"/>
                      </a:moveTo>
                      <a:lnTo>
                        <a:pt x="736881" y="647885"/>
                      </a:lnTo>
                      <a:lnTo>
                        <a:pt x="846523" y="538243"/>
                      </a:lnTo>
                      <a:lnTo>
                        <a:pt x="846523" y="160191"/>
                      </a:lnTo>
                      <a:lnTo>
                        <a:pt x="736881" y="49837"/>
                      </a:lnTo>
                      <a:lnTo>
                        <a:pt x="159479" y="49837"/>
                      </a:lnTo>
                      <a:lnTo>
                        <a:pt x="49837" y="159480"/>
                      </a:lnTo>
                      <a:lnTo>
                        <a:pt x="49837" y="537531"/>
                      </a:lnTo>
                      <a:lnTo>
                        <a:pt x="159479" y="647885"/>
                      </a:lnTo>
                      <a:close/>
                    </a:path>
                  </a:pathLst>
                </a:custGeom>
                <a:grpFill/>
                <a:ln w="71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50" name="Рисунок 3">
                <a:extLst>
                  <a:ext uri="{FF2B5EF4-FFF2-40B4-BE49-F238E27FC236}">
                    <a16:creationId xmlns:a16="http://schemas.microsoft.com/office/drawing/2014/main" id="{59391691-4F79-45DF-ADE9-3EBC264936AD}"/>
                  </a:ext>
                </a:extLst>
              </p:cNvPr>
              <p:cNvGrpSpPr/>
              <p:nvPr/>
            </p:nvGrpSpPr>
            <p:grpSpPr>
              <a:xfrm>
                <a:off x="-2699787" y="1022228"/>
                <a:ext cx="914871" cy="697722"/>
                <a:chOff x="7486461" y="1105251"/>
                <a:chExt cx="914871" cy="697722"/>
              </a:xfrm>
              <a:solidFill>
                <a:schemeClr val="accent1"/>
              </a:solidFill>
            </p:grpSpPr>
            <p:sp>
              <p:nvSpPr>
                <p:cNvPr id="54" name="Полилиния: фигура 190">
                  <a:extLst>
                    <a:ext uri="{FF2B5EF4-FFF2-40B4-BE49-F238E27FC236}">
                      <a16:creationId xmlns:a16="http://schemas.microsoft.com/office/drawing/2014/main" id="{7687954E-3475-4F23-A450-43826E7EB950}"/>
                    </a:ext>
                  </a:extLst>
                </p:cNvPr>
                <p:cNvSpPr/>
                <p:nvPr/>
              </p:nvSpPr>
              <p:spPr>
                <a:xfrm>
                  <a:off x="7504260" y="1753136"/>
                  <a:ext cx="897072" cy="49837"/>
                </a:xfrm>
                <a:custGeom>
                  <a:avLst/>
                  <a:gdLst>
                    <a:gd name="connsiteX0" fmla="*/ 0 w 897072"/>
                    <a:gd name="connsiteY0" fmla="*/ 0 h 49837"/>
                    <a:gd name="connsiteX1" fmla="*/ 897072 w 897072"/>
                    <a:gd name="connsiteY1" fmla="*/ 0 h 49837"/>
                    <a:gd name="connsiteX2" fmla="*/ 897072 w 897072"/>
                    <a:gd name="connsiteY2" fmla="*/ 49837 h 49837"/>
                    <a:gd name="connsiteX3" fmla="*/ 0 w 897072"/>
                    <a:gd name="connsiteY3" fmla="*/ 49837 h 49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7072" h="49837">
                      <a:moveTo>
                        <a:pt x="0" y="0"/>
                      </a:moveTo>
                      <a:lnTo>
                        <a:pt x="897072" y="0"/>
                      </a:lnTo>
                      <a:lnTo>
                        <a:pt x="897072" y="49837"/>
                      </a:lnTo>
                      <a:lnTo>
                        <a:pt x="0" y="49837"/>
                      </a:lnTo>
                      <a:close/>
                    </a:path>
                  </a:pathLst>
                </a:custGeom>
                <a:grpFill/>
                <a:ln w="71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5" name="Полилиния: фигура 191">
                  <a:extLst>
                    <a:ext uri="{FF2B5EF4-FFF2-40B4-BE49-F238E27FC236}">
                      <a16:creationId xmlns:a16="http://schemas.microsoft.com/office/drawing/2014/main" id="{865D2542-CEDE-4A6D-812A-911C4069C13E}"/>
                    </a:ext>
                  </a:extLst>
                </p:cNvPr>
                <p:cNvSpPr/>
                <p:nvPr/>
              </p:nvSpPr>
              <p:spPr>
                <a:xfrm>
                  <a:off x="7486461" y="1105251"/>
                  <a:ext cx="914870" cy="598047"/>
                </a:xfrm>
                <a:custGeom>
                  <a:avLst/>
                  <a:gdLst>
                    <a:gd name="connsiteX0" fmla="*/ 67636 w 914870"/>
                    <a:gd name="connsiteY0" fmla="*/ 598048 h 598047"/>
                    <a:gd name="connsiteX1" fmla="*/ 17799 w 914870"/>
                    <a:gd name="connsiteY1" fmla="*/ 598048 h 598047"/>
                    <a:gd name="connsiteX2" fmla="*/ 17799 w 914870"/>
                    <a:gd name="connsiteY2" fmla="*/ 479150 h 598047"/>
                    <a:gd name="connsiteX3" fmla="*/ 865034 w 914870"/>
                    <a:gd name="connsiteY3" fmla="*/ 254882 h 598047"/>
                    <a:gd name="connsiteX4" fmla="*/ 865034 w 914870"/>
                    <a:gd name="connsiteY4" fmla="*/ 159479 h 598047"/>
                    <a:gd name="connsiteX5" fmla="*/ 754680 w 914870"/>
                    <a:gd name="connsiteY5" fmla="*/ 49837 h 598047"/>
                    <a:gd name="connsiteX6" fmla="*/ 177278 w 914870"/>
                    <a:gd name="connsiteY6" fmla="*/ 49837 h 598047"/>
                    <a:gd name="connsiteX7" fmla="*/ 34886 w 914870"/>
                    <a:gd name="connsiteY7" fmla="*/ 192230 h 598047"/>
                    <a:gd name="connsiteX8" fmla="*/ 0 w 914870"/>
                    <a:gd name="connsiteY8" fmla="*/ 156632 h 598047"/>
                    <a:gd name="connsiteX9" fmla="*/ 156632 w 914870"/>
                    <a:gd name="connsiteY9" fmla="*/ 0 h 598047"/>
                    <a:gd name="connsiteX10" fmla="*/ 775327 w 914870"/>
                    <a:gd name="connsiteY10" fmla="*/ 0 h 598047"/>
                    <a:gd name="connsiteX11" fmla="*/ 914871 w 914870"/>
                    <a:gd name="connsiteY11" fmla="*/ 139545 h 598047"/>
                    <a:gd name="connsiteX12" fmla="*/ 914871 w 914870"/>
                    <a:gd name="connsiteY12" fmla="*/ 293328 h 598047"/>
                    <a:gd name="connsiteX13" fmla="*/ 67636 w 914870"/>
                    <a:gd name="connsiteY13" fmla="*/ 517596 h 5980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914870" h="598047">
                      <a:moveTo>
                        <a:pt x="67636" y="598048"/>
                      </a:moveTo>
                      <a:lnTo>
                        <a:pt x="17799" y="598048"/>
                      </a:lnTo>
                      <a:lnTo>
                        <a:pt x="17799" y="479150"/>
                      </a:lnTo>
                      <a:lnTo>
                        <a:pt x="865034" y="254882"/>
                      </a:lnTo>
                      <a:lnTo>
                        <a:pt x="865034" y="159479"/>
                      </a:lnTo>
                      <a:lnTo>
                        <a:pt x="754680" y="49837"/>
                      </a:lnTo>
                      <a:lnTo>
                        <a:pt x="177278" y="49837"/>
                      </a:lnTo>
                      <a:lnTo>
                        <a:pt x="34886" y="192230"/>
                      </a:lnTo>
                      <a:lnTo>
                        <a:pt x="0" y="156632"/>
                      </a:lnTo>
                      <a:lnTo>
                        <a:pt x="156632" y="0"/>
                      </a:lnTo>
                      <a:lnTo>
                        <a:pt x="775327" y="0"/>
                      </a:lnTo>
                      <a:lnTo>
                        <a:pt x="914871" y="139545"/>
                      </a:lnTo>
                      <a:lnTo>
                        <a:pt x="914871" y="293328"/>
                      </a:lnTo>
                      <a:lnTo>
                        <a:pt x="67636" y="517596"/>
                      </a:lnTo>
                      <a:close/>
                    </a:path>
                  </a:pathLst>
                </a:custGeom>
                <a:grpFill/>
                <a:ln w="71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72" name="Rectangle 47">
              <a:extLst>
                <a:ext uri="{FF2B5EF4-FFF2-40B4-BE49-F238E27FC236}">
                  <a16:creationId xmlns:a16="http://schemas.microsoft.com/office/drawing/2014/main" id="{81A49220-48CF-4C4B-B18C-2612D02B7EEB}"/>
                </a:ext>
              </a:extLst>
            </p:cNvPr>
            <p:cNvSpPr>
              <a:spLocks/>
            </p:cNvSpPr>
            <p:nvPr/>
          </p:nvSpPr>
          <p:spPr>
            <a:xfrm>
              <a:off x="4764208" y="2676800"/>
              <a:ext cx="3240000" cy="576853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square" lIns="0" tIns="0" rIns="0" bIns="0" rtlCol="0" anchor="t" anchorCtr="0">
              <a:noAutofit/>
            </a:bodyPr>
            <a:lstStyle/>
            <a:p>
              <a:pPr lvl="0" hangingPunct="0">
                <a:defRPr/>
              </a:pPr>
              <a:r>
                <a:rPr lang="ru-RU" sz="1200" b="1" kern="0" dirty="0" smtClean="0">
                  <a:solidFill>
                    <a:srgbClr val="002F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Обсуждение невозможности применения проката по ГОСТ 6713-2021 в части состояния поставки </a:t>
              </a:r>
              <a:r>
                <a:rPr lang="ru-RU" sz="1200" b="1" kern="0" dirty="0" smtClean="0">
                  <a:solidFill>
                    <a:srgbClr val="002F6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ез термообработки</a:t>
              </a:r>
              <a:endParaRPr lang="ru-RU" sz="1200" b="1" kern="0" dirty="0">
                <a:solidFill>
                  <a:srgbClr val="002F6C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76" name="Прямоугольник 75">
              <a:extLst>
                <a:ext uri="{FF2B5EF4-FFF2-40B4-BE49-F238E27FC236}">
                  <a16:creationId xmlns:a16="http://schemas.microsoft.com/office/drawing/2014/main" id="{47D4740B-EEC9-4987-8AF7-69638F0EC4B8}"/>
                </a:ext>
              </a:extLst>
            </p:cNvPr>
            <p:cNvSpPr/>
            <p:nvPr/>
          </p:nvSpPr>
          <p:spPr>
            <a:xfrm>
              <a:off x="4764208" y="3256337"/>
              <a:ext cx="3204000" cy="20085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marR="0" lvl="0" indent="-17145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>
                    <a:lumMod val="75000"/>
                  </a:scheme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2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суждение в мостовом сообществе невозможности применения проката в состоянии поставки без термообработки под председательством Минстрой России- апрель-июль 2022 года</a:t>
              </a:r>
            </a:p>
            <a:p>
              <a:pPr marL="171450" marR="0" lvl="0" indent="-17145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>
                    <a:lumMod val="75000"/>
                  </a:scheme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2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иказ о продлении действия ГОСТ Р 55374 до 1 мая 2023 года</a:t>
              </a:r>
            </a:p>
            <a:p>
              <a:pPr marL="171450" marR="0" lvl="0" indent="-17145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>
                    <a:lumMod val="75000"/>
                  </a:scheme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Определение Перечня стандартов, подлежащих изменению в части замены ссылок с ГОСТ Р 55374 на ГОСТ 6713</a:t>
              </a:r>
            </a:p>
            <a:p>
              <a:pPr marL="171450" lvl="0" indent="-171450" defTabSz="932962" fontAlgn="base">
                <a:spcBef>
                  <a:spcPts val="300"/>
                </a:spcBef>
                <a:spcAft>
                  <a:spcPct val="0"/>
                </a:spcAft>
                <a:buClr>
                  <a:schemeClr val="accent1">
                    <a:lumMod val="75000"/>
                  </a:schemeClr>
                </a:buClr>
                <a:buFont typeface="Arial" panose="020B0604020202020204" pitchFamily="34" charset="0"/>
                <a:buChar char="•"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Утверждение</a:t>
              </a:r>
              <a:r>
                <a:rPr kumimoji="0" lang="ru-RU" sz="1200" b="0" i="0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Минстрой и Минтранс </a:t>
              </a:r>
              <a:r>
                <a:rPr lang="ru-RU" sz="12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оссии </a:t>
              </a:r>
              <a:r>
                <a:rPr kumimoji="0" lang="ru-RU" sz="1200" b="0" i="0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Программы комплексных испытаний металлопроката – июль 2022 года</a:t>
              </a: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8472264" y="2132856"/>
            <a:ext cx="3240000" cy="2460469"/>
            <a:chOff x="8436260" y="2276872"/>
            <a:chExt cx="3240000" cy="2460469"/>
          </a:xfrm>
        </p:grpSpPr>
        <p:sp>
          <p:nvSpPr>
            <p:cNvPr id="81" name="Пятиугольник 14">
              <a:extLst>
                <a:ext uri="{FF2B5EF4-FFF2-40B4-BE49-F238E27FC236}">
                  <a16:creationId xmlns:a16="http://schemas.microsoft.com/office/drawing/2014/main" id="{291ECF17-D5CD-4C73-B13E-D62C070D2ADA}"/>
                </a:ext>
              </a:extLst>
            </p:cNvPr>
            <p:cNvSpPr/>
            <p:nvPr/>
          </p:nvSpPr>
          <p:spPr>
            <a:xfrm>
              <a:off x="9051605" y="3152399"/>
              <a:ext cx="73573" cy="186030"/>
            </a:xfrm>
            <a:custGeom>
              <a:avLst/>
              <a:gdLst>
                <a:gd name="connsiteX0" fmla="*/ 0 w 1930168"/>
                <a:gd name="connsiteY0" fmla="*/ 0 h 553959"/>
                <a:gd name="connsiteX1" fmla="*/ 1767487 w 1930168"/>
                <a:gd name="connsiteY1" fmla="*/ 0 h 553959"/>
                <a:gd name="connsiteX2" fmla="*/ 1930168 w 1930168"/>
                <a:gd name="connsiteY2" fmla="*/ 276980 h 553959"/>
                <a:gd name="connsiteX3" fmla="*/ 1767487 w 1930168"/>
                <a:gd name="connsiteY3" fmla="*/ 553959 h 553959"/>
                <a:gd name="connsiteX4" fmla="*/ 0 w 1930168"/>
                <a:gd name="connsiteY4" fmla="*/ 553959 h 553959"/>
                <a:gd name="connsiteX5" fmla="*/ 162681 w 1930168"/>
                <a:gd name="connsiteY5" fmla="*/ 276980 h 553959"/>
                <a:gd name="connsiteX6" fmla="*/ 0 w 1930168"/>
                <a:gd name="connsiteY6" fmla="*/ 0 h 553959"/>
                <a:gd name="connsiteX0" fmla="*/ 162681 w 1930168"/>
                <a:gd name="connsiteY0" fmla="*/ 276980 h 553959"/>
                <a:gd name="connsiteX1" fmla="*/ 0 w 1930168"/>
                <a:gd name="connsiteY1" fmla="*/ 0 h 553959"/>
                <a:gd name="connsiteX2" fmla="*/ 1767487 w 1930168"/>
                <a:gd name="connsiteY2" fmla="*/ 0 h 553959"/>
                <a:gd name="connsiteX3" fmla="*/ 1930168 w 1930168"/>
                <a:gd name="connsiteY3" fmla="*/ 276980 h 553959"/>
                <a:gd name="connsiteX4" fmla="*/ 1767487 w 1930168"/>
                <a:gd name="connsiteY4" fmla="*/ 553959 h 553959"/>
                <a:gd name="connsiteX5" fmla="*/ 0 w 1930168"/>
                <a:gd name="connsiteY5" fmla="*/ 553959 h 553959"/>
                <a:gd name="connsiteX6" fmla="*/ 254121 w 1930168"/>
                <a:gd name="connsiteY6" fmla="*/ 368420 h 553959"/>
                <a:gd name="connsiteX0" fmla="*/ 162681 w 1930168"/>
                <a:gd name="connsiteY0" fmla="*/ 276980 h 553959"/>
                <a:gd name="connsiteX1" fmla="*/ 0 w 1930168"/>
                <a:gd name="connsiteY1" fmla="*/ 0 h 553959"/>
                <a:gd name="connsiteX2" fmla="*/ 1767487 w 1930168"/>
                <a:gd name="connsiteY2" fmla="*/ 0 h 553959"/>
                <a:gd name="connsiteX3" fmla="*/ 1930168 w 1930168"/>
                <a:gd name="connsiteY3" fmla="*/ 276980 h 553959"/>
                <a:gd name="connsiteX4" fmla="*/ 1767487 w 1930168"/>
                <a:gd name="connsiteY4" fmla="*/ 553959 h 553959"/>
                <a:gd name="connsiteX5" fmla="*/ 0 w 1930168"/>
                <a:gd name="connsiteY5" fmla="*/ 553959 h 553959"/>
                <a:gd name="connsiteX0" fmla="*/ 0 w 1930168"/>
                <a:gd name="connsiteY0" fmla="*/ 0 h 553959"/>
                <a:gd name="connsiteX1" fmla="*/ 1767487 w 1930168"/>
                <a:gd name="connsiteY1" fmla="*/ 0 h 553959"/>
                <a:gd name="connsiteX2" fmla="*/ 1930168 w 1930168"/>
                <a:gd name="connsiteY2" fmla="*/ 276980 h 553959"/>
                <a:gd name="connsiteX3" fmla="*/ 1767487 w 1930168"/>
                <a:gd name="connsiteY3" fmla="*/ 553959 h 553959"/>
                <a:gd name="connsiteX4" fmla="*/ 0 w 1930168"/>
                <a:gd name="connsiteY4" fmla="*/ 553959 h 553959"/>
                <a:gd name="connsiteX0" fmla="*/ 1767487 w 1930168"/>
                <a:gd name="connsiteY0" fmla="*/ 0 h 553959"/>
                <a:gd name="connsiteX1" fmla="*/ 1930168 w 1930168"/>
                <a:gd name="connsiteY1" fmla="*/ 276980 h 553959"/>
                <a:gd name="connsiteX2" fmla="*/ 1767487 w 1930168"/>
                <a:gd name="connsiteY2" fmla="*/ 553959 h 553959"/>
                <a:gd name="connsiteX3" fmla="*/ 0 w 1930168"/>
                <a:gd name="connsiteY3" fmla="*/ 553959 h 553959"/>
                <a:gd name="connsiteX0" fmla="*/ 0 w 162681"/>
                <a:gd name="connsiteY0" fmla="*/ 0 h 553959"/>
                <a:gd name="connsiteX1" fmla="*/ 162681 w 162681"/>
                <a:gd name="connsiteY1" fmla="*/ 276980 h 553959"/>
                <a:gd name="connsiteX2" fmla="*/ 0 w 162681"/>
                <a:gd name="connsiteY2" fmla="*/ 553959 h 55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2681" h="553959">
                  <a:moveTo>
                    <a:pt x="0" y="0"/>
                  </a:moveTo>
                  <a:lnTo>
                    <a:pt x="162681" y="276980"/>
                  </a:lnTo>
                  <a:lnTo>
                    <a:pt x="0" y="553959"/>
                  </a:lnTo>
                </a:path>
              </a:pathLst>
            </a:custGeom>
            <a:noFill/>
            <a:ln w="12700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" sz="1292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pic>
          <p:nvPicPr>
            <p:cNvPr id="37" name="Рисунок 36">
              <a:extLst>
                <a:ext uri="{FF2B5EF4-FFF2-40B4-BE49-F238E27FC236}">
                  <a16:creationId xmlns:a16="http://schemas.microsoft.com/office/drawing/2014/main" id="{42A1FA2F-CF0F-454C-A571-90808FCFB08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269293" y="2276872"/>
              <a:ext cx="364960" cy="232879"/>
            </a:xfrm>
            <a:prstGeom prst="rect">
              <a:avLst/>
            </a:prstGeom>
          </p:spPr>
        </p:pic>
        <p:grpSp>
          <p:nvGrpSpPr>
            <p:cNvPr id="58" name="Группа 57">
              <a:extLst>
                <a:ext uri="{FF2B5EF4-FFF2-40B4-BE49-F238E27FC236}">
                  <a16:creationId xmlns:a16="http://schemas.microsoft.com/office/drawing/2014/main" id="{7E9A13B1-0C2E-45CD-989D-BE75FE823348}"/>
                </a:ext>
              </a:extLst>
            </p:cNvPr>
            <p:cNvGrpSpPr/>
            <p:nvPr/>
          </p:nvGrpSpPr>
          <p:grpSpPr>
            <a:xfrm>
              <a:off x="8436260" y="2276872"/>
              <a:ext cx="672009" cy="236982"/>
              <a:chOff x="-3763443" y="2202140"/>
              <a:chExt cx="1978527" cy="697722"/>
            </a:xfrm>
          </p:grpSpPr>
          <p:grpSp>
            <p:nvGrpSpPr>
              <p:cNvPr id="59" name="Рисунок 3">
                <a:extLst>
                  <a:ext uri="{FF2B5EF4-FFF2-40B4-BE49-F238E27FC236}">
                    <a16:creationId xmlns:a16="http://schemas.microsoft.com/office/drawing/2014/main" id="{447D70CB-53AD-4A59-9362-394644BB8122}"/>
                  </a:ext>
                </a:extLst>
              </p:cNvPr>
              <p:cNvGrpSpPr/>
              <p:nvPr/>
            </p:nvGrpSpPr>
            <p:grpSpPr>
              <a:xfrm>
                <a:off x="-3763443" y="2202140"/>
                <a:ext cx="897072" cy="697722"/>
                <a:chOff x="6108815" y="5291586"/>
                <a:chExt cx="897072" cy="697722"/>
              </a:xfrm>
              <a:solidFill>
                <a:schemeClr val="accent1"/>
              </a:solidFill>
            </p:grpSpPr>
            <p:sp>
              <p:nvSpPr>
                <p:cNvPr id="63" name="Полилиния: фигура 202">
                  <a:extLst>
                    <a:ext uri="{FF2B5EF4-FFF2-40B4-BE49-F238E27FC236}">
                      <a16:creationId xmlns:a16="http://schemas.microsoft.com/office/drawing/2014/main" id="{6472D78C-18F2-46DB-B78B-6FE8FF1FB84E}"/>
                    </a:ext>
                  </a:extLst>
                </p:cNvPr>
                <p:cNvSpPr/>
                <p:nvPr/>
              </p:nvSpPr>
              <p:spPr>
                <a:xfrm>
                  <a:off x="6313860" y="5300130"/>
                  <a:ext cx="536107" cy="589504"/>
                </a:xfrm>
                <a:custGeom>
                  <a:avLst/>
                  <a:gdLst>
                    <a:gd name="connsiteX0" fmla="*/ 64789 w 536107"/>
                    <a:gd name="connsiteY0" fmla="*/ 589504 h 589504"/>
                    <a:gd name="connsiteX1" fmla="*/ 536107 w 536107"/>
                    <a:gd name="connsiteY1" fmla="*/ 32750 h 589504"/>
                    <a:gd name="connsiteX2" fmla="*/ 498373 w 536107"/>
                    <a:gd name="connsiteY2" fmla="*/ 0 h 589504"/>
                    <a:gd name="connsiteX3" fmla="*/ 0 w 536107"/>
                    <a:gd name="connsiteY3" fmla="*/ 589504 h 589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36107" h="589504">
                      <a:moveTo>
                        <a:pt x="64789" y="589504"/>
                      </a:moveTo>
                      <a:lnTo>
                        <a:pt x="536107" y="32750"/>
                      </a:lnTo>
                      <a:lnTo>
                        <a:pt x="498373" y="0"/>
                      </a:lnTo>
                      <a:lnTo>
                        <a:pt x="0" y="589504"/>
                      </a:lnTo>
                      <a:close/>
                    </a:path>
                  </a:pathLst>
                </a:custGeom>
                <a:grpFill/>
                <a:ln w="71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9" name="Полилиния: фигура 203">
                  <a:extLst>
                    <a:ext uri="{FF2B5EF4-FFF2-40B4-BE49-F238E27FC236}">
                      <a16:creationId xmlns:a16="http://schemas.microsoft.com/office/drawing/2014/main" id="{4440863F-189D-4924-8AA3-E67C1A23D60C}"/>
                    </a:ext>
                  </a:extLst>
                </p:cNvPr>
                <p:cNvSpPr/>
                <p:nvPr/>
              </p:nvSpPr>
              <p:spPr>
                <a:xfrm>
                  <a:off x="6108815" y="5291586"/>
                  <a:ext cx="897072" cy="697722"/>
                </a:xfrm>
                <a:custGeom>
                  <a:avLst/>
                  <a:gdLst>
                    <a:gd name="connsiteX0" fmla="*/ 757527 w 897072"/>
                    <a:gd name="connsiteY0" fmla="*/ 697723 h 697722"/>
                    <a:gd name="connsiteX1" fmla="*/ 138833 w 897072"/>
                    <a:gd name="connsiteY1" fmla="*/ 697723 h 697722"/>
                    <a:gd name="connsiteX2" fmla="*/ 0 w 897072"/>
                    <a:gd name="connsiteY2" fmla="*/ 558178 h 697722"/>
                    <a:gd name="connsiteX3" fmla="*/ 0 w 897072"/>
                    <a:gd name="connsiteY3" fmla="*/ 138833 h 697722"/>
                    <a:gd name="connsiteX4" fmla="*/ 138833 w 897072"/>
                    <a:gd name="connsiteY4" fmla="*/ 0 h 697722"/>
                    <a:gd name="connsiteX5" fmla="*/ 757527 w 897072"/>
                    <a:gd name="connsiteY5" fmla="*/ 0 h 697722"/>
                    <a:gd name="connsiteX6" fmla="*/ 897072 w 897072"/>
                    <a:gd name="connsiteY6" fmla="*/ 139544 h 697722"/>
                    <a:gd name="connsiteX7" fmla="*/ 897072 w 897072"/>
                    <a:gd name="connsiteY7" fmla="*/ 558890 h 697722"/>
                    <a:gd name="connsiteX8" fmla="*/ 757527 w 897072"/>
                    <a:gd name="connsiteY8" fmla="*/ 697723 h 697722"/>
                    <a:gd name="connsiteX9" fmla="*/ 159479 w 897072"/>
                    <a:gd name="connsiteY9" fmla="*/ 647885 h 697722"/>
                    <a:gd name="connsiteX10" fmla="*/ 736881 w 897072"/>
                    <a:gd name="connsiteY10" fmla="*/ 647885 h 697722"/>
                    <a:gd name="connsiteX11" fmla="*/ 846523 w 897072"/>
                    <a:gd name="connsiteY11" fmla="*/ 538243 h 697722"/>
                    <a:gd name="connsiteX12" fmla="*/ 846523 w 897072"/>
                    <a:gd name="connsiteY12" fmla="*/ 160191 h 697722"/>
                    <a:gd name="connsiteX13" fmla="*/ 736881 w 897072"/>
                    <a:gd name="connsiteY13" fmla="*/ 49837 h 697722"/>
                    <a:gd name="connsiteX14" fmla="*/ 159479 w 897072"/>
                    <a:gd name="connsiteY14" fmla="*/ 49837 h 697722"/>
                    <a:gd name="connsiteX15" fmla="*/ 49837 w 897072"/>
                    <a:gd name="connsiteY15" fmla="*/ 159480 h 697722"/>
                    <a:gd name="connsiteX16" fmla="*/ 49837 w 897072"/>
                    <a:gd name="connsiteY16" fmla="*/ 537531 h 697722"/>
                    <a:gd name="connsiteX17" fmla="*/ 159479 w 897072"/>
                    <a:gd name="connsiteY17" fmla="*/ 647885 h 6977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897072" h="697722">
                      <a:moveTo>
                        <a:pt x="757527" y="697723"/>
                      </a:moveTo>
                      <a:lnTo>
                        <a:pt x="138833" y="697723"/>
                      </a:lnTo>
                      <a:lnTo>
                        <a:pt x="0" y="558178"/>
                      </a:lnTo>
                      <a:lnTo>
                        <a:pt x="0" y="138833"/>
                      </a:lnTo>
                      <a:lnTo>
                        <a:pt x="138833" y="0"/>
                      </a:lnTo>
                      <a:lnTo>
                        <a:pt x="757527" y="0"/>
                      </a:lnTo>
                      <a:lnTo>
                        <a:pt x="897072" y="139544"/>
                      </a:lnTo>
                      <a:lnTo>
                        <a:pt x="897072" y="558890"/>
                      </a:lnTo>
                      <a:lnTo>
                        <a:pt x="757527" y="697723"/>
                      </a:lnTo>
                      <a:close/>
                      <a:moveTo>
                        <a:pt x="159479" y="647885"/>
                      </a:moveTo>
                      <a:lnTo>
                        <a:pt x="736881" y="647885"/>
                      </a:lnTo>
                      <a:lnTo>
                        <a:pt x="846523" y="538243"/>
                      </a:lnTo>
                      <a:lnTo>
                        <a:pt x="846523" y="160191"/>
                      </a:lnTo>
                      <a:lnTo>
                        <a:pt x="736881" y="49837"/>
                      </a:lnTo>
                      <a:lnTo>
                        <a:pt x="159479" y="49837"/>
                      </a:lnTo>
                      <a:lnTo>
                        <a:pt x="49837" y="159480"/>
                      </a:lnTo>
                      <a:lnTo>
                        <a:pt x="49837" y="537531"/>
                      </a:lnTo>
                      <a:lnTo>
                        <a:pt x="159479" y="647885"/>
                      </a:lnTo>
                      <a:close/>
                    </a:path>
                  </a:pathLst>
                </a:custGeom>
                <a:grpFill/>
                <a:ln w="71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60" name="Рисунок 3">
                <a:extLst>
                  <a:ext uri="{FF2B5EF4-FFF2-40B4-BE49-F238E27FC236}">
                    <a16:creationId xmlns:a16="http://schemas.microsoft.com/office/drawing/2014/main" id="{D323F192-8114-4A4C-AC5E-3003B3B1CA3D}"/>
                  </a:ext>
                </a:extLst>
              </p:cNvPr>
              <p:cNvGrpSpPr/>
              <p:nvPr/>
            </p:nvGrpSpPr>
            <p:grpSpPr>
              <a:xfrm>
                <a:off x="-2699787" y="2202140"/>
                <a:ext cx="914871" cy="697719"/>
                <a:chOff x="8881906" y="1105251"/>
                <a:chExt cx="914871" cy="697719"/>
              </a:xfrm>
              <a:solidFill>
                <a:schemeClr val="accent1"/>
              </a:solidFill>
            </p:grpSpPr>
            <p:sp>
              <p:nvSpPr>
                <p:cNvPr id="61" name="Полилиния: фигура 200">
                  <a:extLst>
                    <a:ext uri="{FF2B5EF4-FFF2-40B4-BE49-F238E27FC236}">
                      <a16:creationId xmlns:a16="http://schemas.microsoft.com/office/drawing/2014/main" id="{14B50081-507A-41F1-A15F-2C4B5776FDBA}"/>
                    </a:ext>
                  </a:extLst>
                </p:cNvPr>
                <p:cNvSpPr/>
                <p:nvPr/>
              </p:nvSpPr>
              <p:spPr>
                <a:xfrm>
                  <a:off x="8899705" y="1105251"/>
                  <a:ext cx="897072" cy="199349"/>
                </a:xfrm>
                <a:custGeom>
                  <a:avLst/>
                  <a:gdLst>
                    <a:gd name="connsiteX0" fmla="*/ 0 w 897072"/>
                    <a:gd name="connsiteY0" fmla="*/ 0 h 199349"/>
                    <a:gd name="connsiteX1" fmla="*/ 0 w 897072"/>
                    <a:gd name="connsiteY1" fmla="*/ 49837 h 199349"/>
                    <a:gd name="connsiteX2" fmla="*/ 836555 w 897072"/>
                    <a:gd name="connsiteY2" fmla="*/ 49837 h 199349"/>
                    <a:gd name="connsiteX3" fmla="*/ 687043 w 897072"/>
                    <a:gd name="connsiteY3" fmla="*/ 199349 h 199349"/>
                    <a:gd name="connsiteX4" fmla="*/ 757528 w 897072"/>
                    <a:gd name="connsiteY4" fmla="*/ 199349 h 199349"/>
                    <a:gd name="connsiteX5" fmla="*/ 897072 w 897072"/>
                    <a:gd name="connsiteY5" fmla="*/ 59805 h 199349"/>
                    <a:gd name="connsiteX6" fmla="*/ 897072 w 897072"/>
                    <a:gd name="connsiteY6" fmla="*/ 0 h 1993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97072" h="199349">
                      <a:moveTo>
                        <a:pt x="0" y="0"/>
                      </a:moveTo>
                      <a:lnTo>
                        <a:pt x="0" y="49837"/>
                      </a:lnTo>
                      <a:lnTo>
                        <a:pt x="836555" y="49837"/>
                      </a:lnTo>
                      <a:lnTo>
                        <a:pt x="687043" y="199349"/>
                      </a:lnTo>
                      <a:lnTo>
                        <a:pt x="757528" y="199349"/>
                      </a:lnTo>
                      <a:lnTo>
                        <a:pt x="897072" y="59805"/>
                      </a:lnTo>
                      <a:lnTo>
                        <a:pt x="897072" y="0"/>
                      </a:lnTo>
                      <a:close/>
                    </a:path>
                  </a:pathLst>
                </a:custGeom>
                <a:grpFill/>
                <a:ln w="71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2" name="Полилиния: фигура 201">
                  <a:extLst>
                    <a:ext uri="{FF2B5EF4-FFF2-40B4-BE49-F238E27FC236}">
                      <a16:creationId xmlns:a16="http://schemas.microsoft.com/office/drawing/2014/main" id="{29837E6A-E5D0-423F-AD8C-DDF705C3222E}"/>
                    </a:ext>
                  </a:extLst>
                </p:cNvPr>
                <p:cNvSpPr/>
                <p:nvPr/>
              </p:nvSpPr>
              <p:spPr>
                <a:xfrm>
                  <a:off x="8881906" y="1354436"/>
                  <a:ext cx="914871" cy="448534"/>
                </a:xfrm>
                <a:custGeom>
                  <a:avLst/>
                  <a:gdLst>
                    <a:gd name="connsiteX0" fmla="*/ 775327 w 914871"/>
                    <a:gd name="connsiteY0" fmla="*/ 448536 h 448535"/>
                    <a:gd name="connsiteX1" fmla="*/ 156632 w 914871"/>
                    <a:gd name="connsiteY1" fmla="*/ 448536 h 448535"/>
                    <a:gd name="connsiteX2" fmla="*/ 0 w 914871"/>
                    <a:gd name="connsiteY2" fmla="*/ 291904 h 448535"/>
                    <a:gd name="connsiteX3" fmla="*/ 34886 w 914871"/>
                    <a:gd name="connsiteY3" fmla="*/ 256306 h 448535"/>
                    <a:gd name="connsiteX4" fmla="*/ 177279 w 914871"/>
                    <a:gd name="connsiteY4" fmla="*/ 398699 h 448535"/>
                    <a:gd name="connsiteX5" fmla="*/ 754680 w 914871"/>
                    <a:gd name="connsiteY5" fmla="*/ 398699 h 448535"/>
                    <a:gd name="connsiteX6" fmla="*/ 865034 w 914871"/>
                    <a:gd name="connsiteY6" fmla="*/ 289056 h 448535"/>
                    <a:gd name="connsiteX7" fmla="*/ 865034 w 914871"/>
                    <a:gd name="connsiteY7" fmla="*/ 159479 h 448535"/>
                    <a:gd name="connsiteX8" fmla="*/ 754680 w 914871"/>
                    <a:gd name="connsiteY8" fmla="*/ 49837 h 448535"/>
                    <a:gd name="connsiteX9" fmla="*/ 316823 w 914871"/>
                    <a:gd name="connsiteY9" fmla="*/ 49837 h 448535"/>
                    <a:gd name="connsiteX10" fmla="*/ 316823 w 914871"/>
                    <a:gd name="connsiteY10" fmla="*/ 0 h 448535"/>
                    <a:gd name="connsiteX11" fmla="*/ 775327 w 914871"/>
                    <a:gd name="connsiteY11" fmla="*/ 0 h 448535"/>
                    <a:gd name="connsiteX12" fmla="*/ 914871 w 914871"/>
                    <a:gd name="connsiteY12" fmla="*/ 139545 h 448535"/>
                    <a:gd name="connsiteX13" fmla="*/ 914871 w 914871"/>
                    <a:gd name="connsiteY13" fmla="*/ 308991 h 4485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914871" h="448535">
                      <a:moveTo>
                        <a:pt x="775327" y="448536"/>
                      </a:moveTo>
                      <a:lnTo>
                        <a:pt x="156632" y="448536"/>
                      </a:lnTo>
                      <a:lnTo>
                        <a:pt x="0" y="291904"/>
                      </a:lnTo>
                      <a:lnTo>
                        <a:pt x="34886" y="256306"/>
                      </a:lnTo>
                      <a:lnTo>
                        <a:pt x="177279" y="398699"/>
                      </a:lnTo>
                      <a:lnTo>
                        <a:pt x="754680" y="398699"/>
                      </a:lnTo>
                      <a:lnTo>
                        <a:pt x="865034" y="289056"/>
                      </a:lnTo>
                      <a:lnTo>
                        <a:pt x="865034" y="159479"/>
                      </a:lnTo>
                      <a:lnTo>
                        <a:pt x="754680" y="49837"/>
                      </a:lnTo>
                      <a:lnTo>
                        <a:pt x="316823" y="49837"/>
                      </a:lnTo>
                      <a:lnTo>
                        <a:pt x="316823" y="0"/>
                      </a:lnTo>
                      <a:lnTo>
                        <a:pt x="775327" y="0"/>
                      </a:lnTo>
                      <a:lnTo>
                        <a:pt x="914871" y="139545"/>
                      </a:lnTo>
                      <a:lnTo>
                        <a:pt x="914871" y="308991"/>
                      </a:lnTo>
                      <a:close/>
                    </a:path>
                  </a:pathLst>
                </a:custGeom>
                <a:grpFill/>
                <a:ln w="71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74" name="Rectangle 47">
              <a:extLst>
                <a:ext uri="{FF2B5EF4-FFF2-40B4-BE49-F238E27FC236}">
                  <a16:creationId xmlns:a16="http://schemas.microsoft.com/office/drawing/2014/main" id="{3EC44AE5-BE74-4EDC-B0F8-DEACAA021F0A}"/>
                </a:ext>
              </a:extLst>
            </p:cNvPr>
            <p:cNvSpPr>
              <a:spLocks/>
            </p:cNvSpPr>
            <p:nvPr/>
          </p:nvSpPr>
          <p:spPr>
            <a:xfrm>
              <a:off x="8436260" y="2816932"/>
              <a:ext cx="3240000" cy="576853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algn="l" defTabSz="9329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lang="ru-RU" sz="1200" b="1" kern="0" dirty="0" smtClean="0">
                  <a:solidFill>
                    <a:srgbClr val="002F6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ализация Программы комплексных испытаний </a:t>
              </a:r>
              <a:endPara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Прямоугольник 96">
              <a:extLst>
                <a:ext uri="{FF2B5EF4-FFF2-40B4-BE49-F238E27FC236}">
                  <a16:creationId xmlns:a16="http://schemas.microsoft.com/office/drawing/2014/main" id="{47D4740B-EEC9-4987-8AF7-69638F0EC4B8}"/>
                </a:ext>
              </a:extLst>
            </p:cNvPr>
            <p:cNvSpPr/>
            <p:nvPr/>
          </p:nvSpPr>
          <p:spPr>
            <a:xfrm>
              <a:off x="8436260" y="3537012"/>
              <a:ext cx="3204000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marR="0" lvl="0" indent="-17145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>
                    <a:lumMod val="75000"/>
                  </a:scheme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Выбор исполнителя, заключение договора- август 2022</a:t>
              </a:r>
            </a:p>
            <a:p>
              <a:pPr marL="171450" lvl="0" indent="-171450" defTabSz="932962" fontAlgn="base">
                <a:spcBef>
                  <a:spcPct val="0"/>
                </a:spcBef>
                <a:spcAft>
                  <a:spcPct val="0"/>
                </a:spcAft>
                <a:buClr>
                  <a:schemeClr val="accent1">
                    <a:lumMod val="75000"/>
                  </a:schemeClr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одготовка образцов для испытаний-сентябрь-октябрь 2022</a:t>
              </a:r>
            </a:p>
            <a:p>
              <a:pPr marL="171450" lvl="0" indent="-171450" defTabSz="932962" fontAlgn="base">
                <a:spcBef>
                  <a:spcPct val="0"/>
                </a:spcBef>
                <a:spcAft>
                  <a:spcPct val="0"/>
                </a:spcAft>
                <a:buClr>
                  <a:schemeClr val="accent1">
                    <a:lumMod val="75000"/>
                  </a:schemeClr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2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спытания по Программе </a:t>
              </a:r>
              <a:r>
                <a:rPr lang="ru-RU" sz="1200" noProof="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прель 2023</a:t>
              </a:r>
              <a:endPara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marR="0" lvl="0" indent="-17145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>
                    <a:lumMod val="75000"/>
                  </a:schemeClr>
                </a:buClr>
                <a:buSzTx/>
                <a:buFont typeface="Courier New" panose="02070309020205020404" pitchFamily="49" charset="0"/>
                <a:buChar char="─"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392167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Прямоугольник 144">
            <a:extLst>
              <a:ext uri="{FF2B5EF4-FFF2-40B4-BE49-F238E27FC236}">
                <a16:creationId xmlns:a16="http://schemas.microsoft.com/office/drawing/2014/main" id="{9AA52310-407D-41DB-8676-B0A246CF8F91}"/>
              </a:ext>
            </a:extLst>
          </p:cNvPr>
          <p:cNvSpPr/>
          <p:nvPr/>
        </p:nvSpPr>
        <p:spPr>
          <a:xfrm>
            <a:off x="83332" y="2629358"/>
            <a:ext cx="306930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defTabSz="941743">
              <a:spcBef>
                <a:spcPts val="1108"/>
              </a:spcBef>
            </a:pPr>
            <a:r>
              <a:rPr lang="ru-RU" sz="1200" b="1" dirty="0">
                <a:solidFill>
                  <a:srgbClr val="002F6C"/>
                </a:solidFill>
                <a:latin typeface="Arial"/>
                <a:sym typeface="Arial"/>
              </a:rPr>
              <a:t>Выбор исполнителя, заключение </a:t>
            </a:r>
            <a:r>
              <a:rPr lang="ru-RU" sz="1200" b="1" dirty="0" smtClean="0">
                <a:solidFill>
                  <a:srgbClr val="002F6C"/>
                </a:solidFill>
                <a:latin typeface="Arial"/>
                <a:sym typeface="Arial"/>
              </a:rPr>
              <a:t>договора на проведение испытаний </a:t>
            </a:r>
            <a:endParaRPr lang="ru-RU" sz="1200" b="1" dirty="0">
              <a:solidFill>
                <a:srgbClr val="002F6C"/>
              </a:solidFill>
              <a:latin typeface="Arial"/>
              <a:sym typeface="Arial"/>
            </a:endParaRPr>
          </a:p>
        </p:txBody>
      </p:sp>
      <p:sp>
        <p:nvSpPr>
          <p:cNvPr id="146" name="Прямоугольник 145">
            <a:extLst>
              <a:ext uri="{FF2B5EF4-FFF2-40B4-BE49-F238E27FC236}">
                <a16:creationId xmlns:a16="http://schemas.microsoft.com/office/drawing/2014/main" id="{28FC3785-9710-4808-9B68-8807D90FB65F}"/>
              </a:ext>
            </a:extLst>
          </p:cNvPr>
          <p:cNvSpPr/>
          <p:nvPr/>
        </p:nvSpPr>
        <p:spPr>
          <a:xfrm>
            <a:off x="3200403" y="2629358"/>
            <a:ext cx="28232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defTabSz="941743">
              <a:spcBef>
                <a:spcPts val="1108"/>
              </a:spcBef>
              <a:defRPr/>
            </a:pPr>
            <a:r>
              <a:rPr lang="ru-RU" sz="1200" b="1" dirty="0">
                <a:solidFill>
                  <a:srgbClr val="002F6C"/>
                </a:solidFill>
                <a:latin typeface="Arial"/>
                <a:sym typeface="Arial"/>
              </a:rPr>
              <a:t>Подготовка образцов для </a:t>
            </a:r>
            <a:r>
              <a:rPr lang="ru-RU" sz="1200" b="1" dirty="0" smtClean="0">
                <a:solidFill>
                  <a:srgbClr val="002F6C"/>
                </a:solidFill>
                <a:latin typeface="Arial"/>
                <a:sym typeface="Arial"/>
              </a:rPr>
              <a:t>испытаний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Helvetica"/>
              <a:sym typeface="Arial"/>
            </a:endParaRPr>
          </a:p>
        </p:txBody>
      </p:sp>
      <p:sp>
        <p:nvSpPr>
          <p:cNvPr id="147" name="Прямоугольник 146">
            <a:extLst>
              <a:ext uri="{FF2B5EF4-FFF2-40B4-BE49-F238E27FC236}">
                <a16:creationId xmlns:a16="http://schemas.microsoft.com/office/drawing/2014/main" id="{ECEC7374-2FB3-445C-8475-0CB067604F1B}"/>
              </a:ext>
            </a:extLst>
          </p:cNvPr>
          <p:cNvSpPr/>
          <p:nvPr/>
        </p:nvSpPr>
        <p:spPr>
          <a:xfrm>
            <a:off x="6071406" y="2629358"/>
            <a:ext cx="282114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ctr" defTabSz="941743" rtl="0" eaLnBrk="1" fontAlgn="auto" latinLnBrk="0" hangingPunct="1">
              <a:lnSpc>
                <a:spcPct val="100000"/>
              </a:lnSpc>
              <a:spcBef>
                <a:spcPts val="110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роведение испытаний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2F6C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8" name="Прямоугольник 147">
            <a:extLst>
              <a:ext uri="{FF2B5EF4-FFF2-40B4-BE49-F238E27FC236}">
                <a16:creationId xmlns:a16="http://schemas.microsoft.com/office/drawing/2014/main" id="{630BB724-BD05-4FCC-BB1D-B0CC5BE535AD}"/>
              </a:ext>
            </a:extLst>
          </p:cNvPr>
          <p:cNvSpPr/>
          <p:nvPr/>
        </p:nvSpPr>
        <p:spPr>
          <a:xfrm>
            <a:off x="8940316" y="2629358"/>
            <a:ext cx="29883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defTabSz="941743">
              <a:spcBef>
                <a:spcPts val="1108"/>
              </a:spcBef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Helvetica"/>
                <a:sym typeface="Arial"/>
              </a:rPr>
              <a:t>Подготовка отчета по итогам</a:t>
            </a:r>
            <a:r>
              <a:rPr kumimoji="0" lang="ru-RU" sz="1200" b="1" i="0" u="none" strike="noStrike" kern="1200" cap="none" spc="0" normalizeH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cs typeface="Helvetica"/>
                <a:sym typeface="Arial"/>
              </a:rPr>
              <a:t> испытаний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cs typeface="Helvetica"/>
              <a:sym typeface="Arial"/>
            </a:endParaRPr>
          </a:p>
        </p:txBody>
      </p:sp>
      <p:sp>
        <p:nvSpPr>
          <p:cNvPr id="149" name="Пятиугольник 14">
            <a:extLst>
              <a:ext uri="{FF2B5EF4-FFF2-40B4-BE49-F238E27FC236}">
                <a16:creationId xmlns:a16="http://schemas.microsoft.com/office/drawing/2014/main" id="{9AB689B8-C9D0-4484-BD85-A3622F3A1786}"/>
              </a:ext>
            </a:extLst>
          </p:cNvPr>
          <p:cNvSpPr/>
          <p:nvPr/>
        </p:nvSpPr>
        <p:spPr>
          <a:xfrm>
            <a:off x="4986217" y="2330264"/>
            <a:ext cx="73573" cy="186030"/>
          </a:xfrm>
          <a:custGeom>
            <a:avLst/>
            <a:gdLst>
              <a:gd name="connsiteX0" fmla="*/ 0 w 1930168"/>
              <a:gd name="connsiteY0" fmla="*/ 0 h 553959"/>
              <a:gd name="connsiteX1" fmla="*/ 1767487 w 1930168"/>
              <a:gd name="connsiteY1" fmla="*/ 0 h 553959"/>
              <a:gd name="connsiteX2" fmla="*/ 1930168 w 1930168"/>
              <a:gd name="connsiteY2" fmla="*/ 276980 h 553959"/>
              <a:gd name="connsiteX3" fmla="*/ 1767487 w 1930168"/>
              <a:gd name="connsiteY3" fmla="*/ 553959 h 553959"/>
              <a:gd name="connsiteX4" fmla="*/ 0 w 1930168"/>
              <a:gd name="connsiteY4" fmla="*/ 553959 h 553959"/>
              <a:gd name="connsiteX5" fmla="*/ 162681 w 1930168"/>
              <a:gd name="connsiteY5" fmla="*/ 276980 h 553959"/>
              <a:gd name="connsiteX6" fmla="*/ 0 w 1930168"/>
              <a:gd name="connsiteY6" fmla="*/ 0 h 553959"/>
              <a:gd name="connsiteX0" fmla="*/ 162681 w 1930168"/>
              <a:gd name="connsiteY0" fmla="*/ 276980 h 553959"/>
              <a:gd name="connsiteX1" fmla="*/ 0 w 1930168"/>
              <a:gd name="connsiteY1" fmla="*/ 0 h 553959"/>
              <a:gd name="connsiteX2" fmla="*/ 1767487 w 1930168"/>
              <a:gd name="connsiteY2" fmla="*/ 0 h 553959"/>
              <a:gd name="connsiteX3" fmla="*/ 1930168 w 1930168"/>
              <a:gd name="connsiteY3" fmla="*/ 276980 h 553959"/>
              <a:gd name="connsiteX4" fmla="*/ 1767487 w 1930168"/>
              <a:gd name="connsiteY4" fmla="*/ 553959 h 553959"/>
              <a:gd name="connsiteX5" fmla="*/ 0 w 1930168"/>
              <a:gd name="connsiteY5" fmla="*/ 553959 h 553959"/>
              <a:gd name="connsiteX6" fmla="*/ 254121 w 1930168"/>
              <a:gd name="connsiteY6" fmla="*/ 368420 h 553959"/>
              <a:gd name="connsiteX0" fmla="*/ 162681 w 1930168"/>
              <a:gd name="connsiteY0" fmla="*/ 276980 h 553959"/>
              <a:gd name="connsiteX1" fmla="*/ 0 w 1930168"/>
              <a:gd name="connsiteY1" fmla="*/ 0 h 553959"/>
              <a:gd name="connsiteX2" fmla="*/ 1767487 w 1930168"/>
              <a:gd name="connsiteY2" fmla="*/ 0 h 553959"/>
              <a:gd name="connsiteX3" fmla="*/ 1930168 w 1930168"/>
              <a:gd name="connsiteY3" fmla="*/ 276980 h 553959"/>
              <a:gd name="connsiteX4" fmla="*/ 1767487 w 1930168"/>
              <a:gd name="connsiteY4" fmla="*/ 553959 h 553959"/>
              <a:gd name="connsiteX5" fmla="*/ 0 w 1930168"/>
              <a:gd name="connsiteY5" fmla="*/ 553959 h 553959"/>
              <a:gd name="connsiteX0" fmla="*/ 0 w 1930168"/>
              <a:gd name="connsiteY0" fmla="*/ 0 h 553959"/>
              <a:gd name="connsiteX1" fmla="*/ 1767487 w 1930168"/>
              <a:gd name="connsiteY1" fmla="*/ 0 h 553959"/>
              <a:gd name="connsiteX2" fmla="*/ 1930168 w 1930168"/>
              <a:gd name="connsiteY2" fmla="*/ 276980 h 553959"/>
              <a:gd name="connsiteX3" fmla="*/ 1767487 w 1930168"/>
              <a:gd name="connsiteY3" fmla="*/ 553959 h 553959"/>
              <a:gd name="connsiteX4" fmla="*/ 0 w 1930168"/>
              <a:gd name="connsiteY4" fmla="*/ 553959 h 553959"/>
              <a:gd name="connsiteX0" fmla="*/ 1767487 w 1930168"/>
              <a:gd name="connsiteY0" fmla="*/ 0 h 553959"/>
              <a:gd name="connsiteX1" fmla="*/ 1930168 w 1930168"/>
              <a:gd name="connsiteY1" fmla="*/ 276980 h 553959"/>
              <a:gd name="connsiteX2" fmla="*/ 1767487 w 1930168"/>
              <a:gd name="connsiteY2" fmla="*/ 553959 h 553959"/>
              <a:gd name="connsiteX3" fmla="*/ 0 w 1930168"/>
              <a:gd name="connsiteY3" fmla="*/ 553959 h 553959"/>
              <a:gd name="connsiteX0" fmla="*/ 0 w 162681"/>
              <a:gd name="connsiteY0" fmla="*/ 0 h 553959"/>
              <a:gd name="connsiteX1" fmla="*/ 162681 w 162681"/>
              <a:gd name="connsiteY1" fmla="*/ 276980 h 553959"/>
              <a:gd name="connsiteX2" fmla="*/ 0 w 162681"/>
              <a:gd name="connsiteY2" fmla="*/ 553959 h 553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681" h="553959">
                <a:moveTo>
                  <a:pt x="0" y="0"/>
                </a:moveTo>
                <a:lnTo>
                  <a:pt x="162681" y="276980"/>
                </a:lnTo>
                <a:lnTo>
                  <a:pt x="0" y="553959"/>
                </a:lnTo>
              </a:path>
            </a:pathLst>
          </a:cu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" sz="1292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charset="0"/>
              <a:sym typeface="Arial"/>
            </a:endParaRPr>
          </a:p>
        </p:txBody>
      </p:sp>
      <p:sp>
        <p:nvSpPr>
          <p:cNvPr id="150" name="Пятиугольник 14">
            <a:extLst>
              <a:ext uri="{FF2B5EF4-FFF2-40B4-BE49-F238E27FC236}">
                <a16:creationId xmlns:a16="http://schemas.microsoft.com/office/drawing/2014/main" id="{291ECF17-D5CD-4C73-B13E-D62C070D2ADA}"/>
              </a:ext>
            </a:extLst>
          </p:cNvPr>
          <p:cNvSpPr/>
          <p:nvPr/>
        </p:nvSpPr>
        <p:spPr>
          <a:xfrm>
            <a:off x="7213451" y="2330264"/>
            <a:ext cx="73573" cy="186030"/>
          </a:xfrm>
          <a:custGeom>
            <a:avLst/>
            <a:gdLst>
              <a:gd name="connsiteX0" fmla="*/ 0 w 1930168"/>
              <a:gd name="connsiteY0" fmla="*/ 0 h 553959"/>
              <a:gd name="connsiteX1" fmla="*/ 1767487 w 1930168"/>
              <a:gd name="connsiteY1" fmla="*/ 0 h 553959"/>
              <a:gd name="connsiteX2" fmla="*/ 1930168 w 1930168"/>
              <a:gd name="connsiteY2" fmla="*/ 276980 h 553959"/>
              <a:gd name="connsiteX3" fmla="*/ 1767487 w 1930168"/>
              <a:gd name="connsiteY3" fmla="*/ 553959 h 553959"/>
              <a:gd name="connsiteX4" fmla="*/ 0 w 1930168"/>
              <a:gd name="connsiteY4" fmla="*/ 553959 h 553959"/>
              <a:gd name="connsiteX5" fmla="*/ 162681 w 1930168"/>
              <a:gd name="connsiteY5" fmla="*/ 276980 h 553959"/>
              <a:gd name="connsiteX6" fmla="*/ 0 w 1930168"/>
              <a:gd name="connsiteY6" fmla="*/ 0 h 553959"/>
              <a:gd name="connsiteX0" fmla="*/ 162681 w 1930168"/>
              <a:gd name="connsiteY0" fmla="*/ 276980 h 553959"/>
              <a:gd name="connsiteX1" fmla="*/ 0 w 1930168"/>
              <a:gd name="connsiteY1" fmla="*/ 0 h 553959"/>
              <a:gd name="connsiteX2" fmla="*/ 1767487 w 1930168"/>
              <a:gd name="connsiteY2" fmla="*/ 0 h 553959"/>
              <a:gd name="connsiteX3" fmla="*/ 1930168 w 1930168"/>
              <a:gd name="connsiteY3" fmla="*/ 276980 h 553959"/>
              <a:gd name="connsiteX4" fmla="*/ 1767487 w 1930168"/>
              <a:gd name="connsiteY4" fmla="*/ 553959 h 553959"/>
              <a:gd name="connsiteX5" fmla="*/ 0 w 1930168"/>
              <a:gd name="connsiteY5" fmla="*/ 553959 h 553959"/>
              <a:gd name="connsiteX6" fmla="*/ 254121 w 1930168"/>
              <a:gd name="connsiteY6" fmla="*/ 368420 h 553959"/>
              <a:gd name="connsiteX0" fmla="*/ 162681 w 1930168"/>
              <a:gd name="connsiteY0" fmla="*/ 276980 h 553959"/>
              <a:gd name="connsiteX1" fmla="*/ 0 w 1930168"/>
              <a:gd name="connsiteY1" fmla="*/ 0 h 553959"/>
              <a:gd name="connsiteX2" fmla="*/ 1767487 w 1930168"/>
              <a:gd name="connsiteY2" fmla="*/ 0 h 553959"/>
              <a:gd name="connsiteX3" fmla="*/ 1930168 w 1930168"/>
              <a:gd name="connsiteY3" fmla="*/ 276980 h 553959"/>
              <a:gd name="connsiteX4" fmla="*/ 1767487 w 1930168"/>
              <a:gd name="connsiteY4" fmla="*/ 553959 h 553959"/>
              <a:gd name="connsiteX5" fmla="*/ 0 w 1930168"/>
              <a:gd name="connsiteY5" fmla="*/ 553959 h 553959"/>
              <a:gd name="connsiteX0" fmla="*/ 0 w 1930168"/>
              <a:gd name="connsiteY0" fmla="*/ 0 h 553959"/>
              <a:gd name="connsiteX1" fmla="*/ 1767487 w 1930168"/>
              <a:gd name="connsiteY1" fmla="*/ 0 h 553959"/>
              <a:gd name="connsiteX2" fmla="*/ 1930168 w 1930168"/>
              <a:gd name="connsiteY2" fmla="*/ 276980 h 553959"/>
              <a:gd name="connsiteX3" fmla="*/ 1767487 w 1930168"/>
              <a:gd name="connsiteY3" fmla="*/ 553959 h 553959"/>
              <a:gd name="connsiteX4" fmla="*/ 0 w 1930168"/>
              <a:gd name="connsiteY4" fmla="*/ 553959 h 553959"/>
              <a:gd name="connsiteX0" fmla="*/ 1767487 w 1930168"/>
              <a:gd name="connsiteY0" fmla="*/ 0 h 553959"/>
              <a:gd name="connsiteX1" fmla="*/ 1930168 w 1930168"/>
              <a:gd name="connsiteY1" fmla="*/ 276980 h 553959"/>
              <a:gd name="connsiteX2" fmla="*/ 1767487 w 1930168"/>
              <a:gd name="connsiteY2" fmla="*/ 553959 h 553959"/>
              <a:gd name="connsiteX3" fmla="*/ 0 w 1930168"/>
              <a:gd name="connsiteY3" fmla="*/ 553959 h 553959"/>
              <a:gd name="connsiteX0" fmla="*/ 0 w 162681"/>
              <a:gd name="connsiteY0" fmla="*/ 0 h 553959"/>
              <a:gd name="connsiteX1" fmla="*/ 162681 w 162681"/>
              <a:gd name="connsiteY1" fmla="*/ 276980 h 553959"/>
              <a:gd name="connsiteX2" fmla="*/ 0 w 162681"/>
              <a:gd name="connsiteY2" fmla="*/ 553959 h 553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681" h="553959">
                <a:moveTo>
                  <a:pt x="0" y="0"/>
                </a:moveTo>
                <a:lnTo>
                  <a:pt x="162681" y="276980"/>
                </a:lnTo>
                <a:lnTo>
                  <a:pt x="0" y="553959"/>
                </a:lnTo>
              </a:path>
            </a:pathLst>
          </a:cu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" sz="1292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charset="0"/>
              <a:sym typeface="Arial"/>
            </a:endParaRPr>
          </a:p>
        </p:txBody>
      </p:sp>
      <p:sp>
        <p:nvSpPr>
          <p:cNvPr id="151" name="Rectangle 4">
            <a:extLst>
              <a:ext uri="{FF2B5EF4-FFF2-40B4-BE49-F238E27FC236}">
                <a16:creationId xmlns:a16="http://schemas.microsoft.com/office/drawing/2014/main" id="{A47B14E4-8954-4023-B338-4BD91A36AEFD}"/>
              </a:ext>
            </a:extLst>
          </p:cNvPr>
          <p:cNvSpPr/>
          <p:nvPr/>
        </p:nvSpPr>
        <p:spPr>
          <a:xfrm>
            <a:off x="308637" y="2033173"/>
            <a:ext cx="2844000" cy="483121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Этап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1</a:t>
            </a:r>
          </a:p>
        </p:txBody>
      </p:sp>
      <p:sp>
        <p:nvSpPr>
          <p:cNvPr id="152" name="Rectangle 4">
            <a:extLst>
              <a:ext uri="{FF2B5EF4-FFF2-40B4-BE49-F238E27FC236}">
                <a16:creationId xmlns:a16="http://schemas.microsoft.com/office/drawing/2014/main" id="{3E16D079-36A4-4061-85B1-1BFA855C35C1}"/>
              </a:ext>
            </a:extLst>
          </p:cNvPr>
          <p:cNvSpPr/>
          <p:nvPr/>
        </p:nvSpPr>
        <p:spPr>
          <a:xfrm>
            <a:off x="3188441" y="2033173"/>
            <a:ext cx="2844000" cy="483121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Этап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2</a:t>
            </a:r>
          </a:p>
        </p:txBody>
      </p:sp>
      <p:sp>
        <p:nvSpPr>
          <p:cNvPr id="153" name="Rectangle 4">
            <a:extLst>
              <a:ext uri="{FF2B5EF4-FFF2-40B4-BE49-F238E27FC236}">
                <a16:creationId xmlns:a16="http://schemas.microsoft.com/office/drawing/2014/main" id="{78A43364-9580-4CC7-8428-605AE3ABDA0F}"/>
              </a:ext>
            </a:extLst>
          </p:cNvPr>
          <p:cNvSpPr/>
          <p:nvPr/>
        </p:nvSpPr>
        <p:spPr>
          <a:xfrm>
            <a:off x="6062285" y="2033173"/>
            <a:ext cx="2844000" cy="483121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Этап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3</a:t>
            </a:r>
          </a:p>
        </p:txBody>
      </p:sp>
      <p:sp>
        <p:nvSpPr>
          <p:cNvPr id="154" name="Rectangle 4">
            <a:extLst>
              <a:ext uri="{FF2B5EF4-FFF2-40B4-BE49-F238E27FC236}">
                <a16:creationId xmlns:a16="http://schemas.microsoft.com/office/drawing/2014/main" id="{4BC4DB16-A55B-47B2-B90A-26D11AB7CD86}"/>
              </a:ext>
            </a:extLst>
          </p:cNvPr>
          <p:cNvSpPr/>
          <p:nvPr/>
        </p:nvSpPr>
        <p:spPr>
          <a:xfrm>
            <a:off x="8940316" y="2033173"/>
            <a:ext cx="2844000" cy="483121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  <a:sym typeface="Arial"/>
              </a:rPr>
              <a:t>Результат</a:t>
            </a:r>
          </a:p>
        </p:txBody>
      </p:sp>
      <p:cxnSp>
        <p:nvCxnSpPr>
          <p:cNvPr id="155" name="Прямая соединительная линия 154">
            <a:extLst>
              <a:ext uri="{FF2B5EF4-FFF2-40B4-BE49-F238E27FC236}">
                <a16:creationId xmlns:a16="http://schemas.microsoft.com/office/drawing/2014/main" id="{A89E2A30-63D2-4A3C-B7B6-6124D8ED28A4}"/>
              </a:ext>
            </a:extLst>
          </p:cNvPr>
          <p:cNvCxnSpPr>
            <a:cxnSpLocks/>
          </p:cNvCxnSpPr>
          <p:nvPr/>
        </p:nvCxnSpPr>
        <p:spPr>
          <a:xfrm flipH="1">
            <a:off x="3167559" y="2033173"/>
            <a:ext cx="5960" cy="110342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Прямая соединительная линия 155">
            <a:extLst>
              <a:ext uri="{FF2B5EF4-FFF2-40B4-BE49-F238E27FC236}">
                <a16:creationId xmlns:a16="http://schemas.microsoft.com/office/drawing/2014/main" id="{5E2E3794-546D-486C-A700-D4E6A04BE401}"/>
              </a:ext>
            </a:extLst>
          </p:cNvPr>
          <p:cNvCxnSpPr>
            <a:cxnSpLocks/>
          </p:cNvCxnSpPr>
          <p:nvPr/>
        </p:nvCxnSpPr>
        <p:spPr>
          <a:xfrm>
            <a:off x="6023992" y="2024844"/>
            <a:ext cx="0" cy="110342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Прямая соединительная линия 156">
            <a:extLst>
              <a:ext uri="{FF2B5EF4-FFF2-40B4-BE49-F238E27FC236}">
                <a16:creationId xmlns:a16="http://schemas.microsoft.com/office/drawing/2014/main" id="{F21DD61E-B2FC-4F1B-9723-7DC4F3264BBA}"/>
              </a:ext>
            </a:extLst>
          </p:cNvPr>
          <p:cNvCxnSpPr>
            <a:cxnSpLocks/>
          </p:cNvCxnSpPr>
          <p:nvPr/>
        </p:nvCxnSpPr>
        <p:spPr>
          <a:xfrm flipH="1">
            <a:off x="8921207" y="2061453"/>
            <a:ext cx="4185" cy="105764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Прямая соединительная линия 157">
            <a:extLst>
              <a:ext uri="{FF2B5EF4-FFF2-40B4-BE49-F238E27FC236}">
                <a16:creationId xmlns:a16="http://schemas.microsoft.com/office/drawing/2014/main" id="{C7D7AFC4-D431-4CDB-941E-F471DDFCC07E}"/>
              </a:ext>
            </a:extLst>
          </p:cNvPr>
          <p:cNvCxnSpPr/>
          <p:nvPr/>
        </p:nvCxnSpPr>
        <p:spPr bwMode="auto">
          <a:xfrm>
            <a:off x="299356" y="2033173"/>
            <a:ext cx="6624000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9" name="Прямая соединительная линия 158">
            <a:extLst>
              <a:ext uri="{FF2B5EF4-FFF2-40B4-BE49-F238E27FC236}">
                <a16:creationId xmlns:a16="http://schemas.microsoft.com/office/drawing/2014/main" id="{C1468DEA-A68F-4B14-8914-F14E16B92574}"/>
              </a:ext>
            </a:extLst>
          </p:cNvPr>
          <p:cNvCxnSpPr>
            <a:cxnSpLocks/>
          </p:cNvCxnSpPr>
          <p:nvPr/>
        </p:nvCxnSpPr>
        <p:spPr bwMode="auto">
          <a:xfrm>
            <a:off x="6852084" y="2033173"/>
            <a:ext cx="4932000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0" name="Рисунок 6">
            <a:extLst>
              <a:ext uri="{FF2B5EF4-FFF2-40B4-BE49-F238E27FC236}">
                <a16:creationId xmlns:a16="http://schemas.microsoft.com/office/drawing/2014/main" id="{6345472B-AD55-4F52-96C1-4ED3792F50DA}"/>
              </a:ext>
            </a:extLst>
          </p:cNvPr>
          <p:cNvSpPr/>
          <p:nvPr/>
        </p:nvSpPr>
        <p:spPr>
          <a:xfrm>
            <a:off x="3020442" y="1471729"/>
            <a:ext cx="322844" cy="206071"/>
          </a:xfrm>
          <a:custGeom>
            <a:avLst/>
            <a:gdLst>
              <a:gd name="connsiteX0" fmla="*/ 290560 w 322844"/>
              <a:gd name="connsiteY0" fmla="*/ 95026 h 206071"/>
              <a:gd name="connsiteX1" fmla="*/ 0 w 322844"/>
              <a:gd name="connsiteY1" fmla="*/ 95026 h 206071"/>
              <a:gd name="connsiteX2" fmla="*/ 0 w 322844"/>
              <a:gd name="connsiteY2" fmla="*/ 111048 h 206071"/>
              <a:gd name="connsiteX3" fmla="*/ 290560 w 322844"/>
              <a:gd name="connsiteY3" fmla="*/ 111048 h 206071"/>
              <a:gd name="connsiteX4" fmla="*/ 181662 w 322844"/>
              <a:gd name="connsiteY4" fmla="*/ 0 h 206071"/>
              <a:gd name="connsiteX5" fmla="*/ 173464 w 322844"/>
              <a:gd name="connsiteY5" fmla="*/ 13800 h 206071"/>
              <a:gd name="connsiteX6" fmla="*/ 306702 w 322844"/>
              <a:gd name="connsiteY6" fmla="*/ 91599 h 206071"/>
              <a:gd name="connsiteX7" fmla="*/ 306702 w 322844"/>
              <a:gd name="connsiteY7" fmla="*/ 114475 h 206071"/>
              <a:gd name="connsiteX8" fmla="*/ 173464 w 322844"/>
              <a:gd name="connsiteY8" fmla="*/ 192271 h 206071"/>
              <a:gd name="connsiteX9" fmla="*/ 181662 w 322844"/>
              <a:gd name="connsiteY9" fmla="*/ 206071 h 206071"/>
              <a:gd name="connsiteX10" fmla="*/ 322844 w 322844"/>
              <a:gd name="connsiteY10" fmla="*/ 123644 h 206071"/>
              <a:gd name="connsiteX11" fmla="*/ 322844 w 322844"/>
              <a:gd name="connsiteY11" fmla="*/ 82429 h 206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2844" h="206071">
                <a:moveTo>
                  <a:pt x="290560" y="95026"/>
                </a:moveTo>
                <a:lnTo>
                  <a:pt x="0" y="95026"/>
                </a:lnTo>
                <a:lnTo>
                  <a:pt x="0" y="111048"/>
                </a:lnTo>
                <a:lnTo>
                  <a:pt x="290560" y="111048"/>
                </a:lnTo>
                <a:close/>
                <a:moveTo>
                  <a:pt x="181662" y="0"/>
                </a:moveTo>
                <a:lnTo>
                  <a:pt x="173464" y="13800"/>
                </a:lnTo>
                <a:lnTo>
                  <a:pt x="306702" y="91599"/>
                </a:lnTo>
                <a:lnTo>
                  <a:pt x="306702" y="114475"/>
                </a:lnTo>
                <a:lnTo>
                  <a:pt x="173464" y="192271"/>
                </a:lnTo>
                <a:lnTo>
                  <a:pt x="181662" y="206071"/>
                </a:lnTo>
                <a:lnTo>
                  <a:pt x="322844" y="123644"/>
                </a:lnTo>
                <a:lnTo>
                  <a:pt x="322844" y="82429"/>
                </a:lnTo>
                <a:close/>
              </a:path>
            </a:pathLst>
          </a:custGeom>
          <a:solidFill>
            <a:schemeClr val="accent3"/>
          </a:solidFill>
          <a:ln w="224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Helvetica"/>
              <a:sym typeface="Arial"/>
            </a:endParaRPr>
          </a:p>
        </p:txBody>
      </p:sp>
      <p:sp>
        <p:nvSpPr>
          <p:cNvPr id="161" name="Рисунок 36">
            <a:extLst>
              <a:ext uri="{FF2B5EF4-FFF2-40B4-BE49-F238E27FC236}">
                <a16:creationId xmlns:a16="http://schemas.microsoft.com/office/drawing/2014/main" id="{A2DC5E6F-6AB6-43DF-859D-2B8F81824C96}"/>
              </a:ext>
            </a:extLst>
          </p:cNvPr>
          <p:cNvSpPr/>
          <p:nvPr/>
        </p:nvSpPr>
        <p:spPr>
          <a:xfrm>
            <a:off x="5932176" y="1471729"/>
            <a:ext cx="322844" cy="206071"/>
          </a:xfrm>
          <a:custGeom>
            <a:avLst/>
            <a:gdLst>
              <a:gd name="connsiteX0" fmla="*/ 290560 w 322844"/>
              <a:gd name="connsiteY0" fmla="*/ 95026 h 206071"/>
              <a:gd name="connsiteX1" fmla="*/ 0 w 322844"/>
              <a:gd name="connsiteY1" fmla="*/ 95026 h 206071"/>
              <a:gd name="connsiteX2" fmla="*/ 0 w 322844"/>
              <a:gd name="connsiteY2" fmla="*/ 111048 h 206071"/>
              <a:gd name="connsiteX3" fmla="*/ 290560 w 322844"/>
              <a:gd name="connsiteY3" fmla="*/ 111048 h 206071"/>
              <a:gd name="connsiteX4" fmla="*/ 181662 w 322844"/>
              <a:gd name="connsiteY4" fmla="*/ 0 h 206071"/>
              <a:gd name="connsiteX5" fmla="*/ 173464 w 322844"/>
              <a:gd name="connsiteY5" fmla="*/ 13800 h 206071"/>
              <a:gd name="connsiteX6" fmla="*/ 306702 w 322844"/>
              <a:gd name="connsiteY6" fmla="*/ 91599 h 206071"/>
              <a:gd name="connsiteX7" fmla="*/ 306702 w 322844"/>
              <a:gd name="connsiteY7" fmla="*/ 114475 h 206071"/>
              <a:gd name="connsiteX8" fmla="*/ 173464 w 322844"/>
              <a:gd name="connsiteY8" fmla="*/ 192271 h 206071"/>
              <a:gd name="connsiteX9" fmla="*/ 181662 w 322844"/>
              <a:gd name="connsiteY9" fmla="*/ 206071 h 206071"/>
              <a:gd name="connsiteX10" fmla="*/ 322844 w 322844"/>
              <a:gd name="connsiteY10" fmla="*/ 123644 h 206071"/>
              <a:gd name="connsiteX11" fmla="*/ 322844 w 322844"/>
              <a:gd name="connsiteY11" fmla="*/ 82429 h 206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2844" h="206071">
                <a:moveTo>
                  <a:pt x="290560" y="95026"/>
                </a:moveTo>
                <a:lnTo>
                  <a:pt x="0" y="95026"/>
                </a:lnTo>
                <a:lnTo>
                  <a:pt x="0" y="111048"/>
                </a:lnTo>
                <a:lnTo>
                  <a:pt x="290560" y="111048"/>
                </a:lnTo>
                <a:close/>
                <a:moveTo>
                  <a:pt x="181662" y="0"/>
                </a:moveTo>
                <a:lnTo>
                  <a:pt x="173464" y="13800"/>
                </a:lnTo>
                <a:lnTo>
                  <a:pt x="306702" y="91599"/>
                </a:lnTo>
                <a:lnTo>
                  <a:pt x="306702" y="114475"/>
                </a:lnTo>
                <a:lnTo>
                  <a:pt x="173464" y="192271"/>
                </a:lnTo>
                <a:lnTo>
                  <a:pt x="181662" y="206071"/>
                </a:lnTo>
                <a:lnTo>
                  <a:pt x="322844" y="123644"/>
                </a:lnTo>
                <a:lnTo>
                  <a:pt x="322844" y="82429"/>
                </a:lnTo>
                <a:close/>
              </a:path>
            </a:pathLst>
          </a:custGeom>
          <a:solidFill>
            <a:schemeClr val="accent3"/>
          </a:solidFill>
          <a:ln w="224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Helvetica"/>
              <a:sym typeface="Arial"/>
            </a:endParaRPr>
          </a:p>
        </p:txBody>
      </p:sp>
      <p:sp>
        <p:nvSpPr>
          <p:cNvPr id="162" name="Рисунок 46">
            <a:extLst>
              <a:ext uri="{FF2B5EF4-FFF2-40B4-BE49-F238E27FC236}">
                <a16:creationId xmlns:a16="http://schemas.microsoft.com/office/drawing/2014/main" id="{20E054F9-449B-4C04-99F7-3E2604964407}"/>
              </a:ext>
            </a:extLst>
          </p:cNvPr>
          <p:cNvSpPr/>
          <p:nvPr/>
        </p:nvSpPr>
        <p:spPr>
          <a:xfrm>
            <a:off x="8843910" y="1471729"/>
            <a:ext cx="322844" cy="206071"/>
          </a:xfrm>
          <a:custGeom>
            <a:avLst/>
            <a:gdLst>
              <a:gd name="connsiteX0" fmla="*/ 290560 w 322844"/>
              <a:gd name="connsiteY0" fmla="*/ 95026 h 206071"/>
              <a:gd name="connsiteX1" fmla="*/ 0 w 322844"/>
              <a:gd name="connsiteY1" fmla="*/ 95026 h 206071"/>
              <a:gd name="connsiteX2" fmla="*/ 0 w 322844"/>
              <a:gd name="connsiteY2" fmla="*/ 111048 h 206071"/>
              <a:gd name="connsiteX3" fmla="*/ 290560 w 322844"/>
              <a:gd name="connsiteY3" fmla="*/ 111048 h 206071"/>
              <a:gd name="connsiteX4" fmla="*/ 181662 w 322844"/>
              <a:gd name="connsiteY4" fmla="*/ 0 h 206071"/>
              <a:gd name="connsiteX5" fmla="*/ 173464 w 322844"/>
              <a:gd name="connsiteY5" fmla="*/ 13800 h 206071"/>
              <a:gd name="connsiteX6" fmla="*/ 306702 w 322844"/>
              <a:gd name="connsiteY6" fmla="*/ 91599 h 206071"/>
              <a:gd name="connsiteX7" fmla="*/ 306702 w 322844"/>
              <a:gd name="connsiteY7" fmla="*/ 114475 h 206071"/>
              <a:gd name="connsiteX8" fmla="*/ 173464 w 322844"/>
              <a:gd name="connsiteY8" fmla="*/ 192271 h 206071"/>
              <a:gd name="connsiteX9" fmla="*/ 181662 w 322844"/>
              <a:gd name="connsiteY9" fmla="*/ 206071 h 206071"/>
              <a:gd name="connsiteX10" fmla="*/ 322844 w 322844"/>
              <a:gd name="connsiteY10" fmla="*/ 123644 h 206071"/>
              <a:gd name="connsiteX11" fmla="*/ 322844 w 322844"/>
              <a:gd name="connsiteY11" fmla="*/ 82429 h 206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2844" h="206071">
                <a:moveTo>
                  <a:pt x="290560" y="95026"/>
                </a:moveTo>
                <a:lnTo>
                  <a:pt x="0" y="95026"/>
                </a:lnTo>
                <a:lnTo>
                  <a:pt x="0" y="111048"/>
                </a:lnTo>
                <a:lnTo>
                  <a:pt x="290560" y="111048"/>
                </a:lnTo>
                <a:close/>
                <a:moveTo>
                  <a:pt x="181662" y="0"/>
                </a:moveTo>
                <a:lnTo>
                  <a:pt x="173464" y="13800"/>
                </a:lnTo>
                <a:lnTo>
                  <a:pt x="306702" y="91599"/>
                </a:lnTo>
                <a:lnTo>
                  <a:pt x="306702" y="114475"/>
                </a:lnTo>
                <a:lnTo>
                  <a:pt x="173464" y="192271"/>
                </a:lnTo>
                <a:lnTo>
                  <a:pt x="181662" y="206071"/>
                </a:lnTo>
                <a:lnTo>
                  <a:pt x="322844" y="123644"/>
                </a:lnTo>
                <a:lnTo>
                  <a:pt x="322844" y="82429"/>
                </a:lnTo>
                <a:close/>
              </a:path>
            </a:pathLst>
          </a:custGeom>
          <a:solidFill>
            <a:schemeClr val="accent3"/>
          </a:solidFill>
          <a:ln w="224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Helvetica"/>
              <a:sym typeface="Arial"/>
            </a:endParaRPr>
          </a:p>
        </p:txBody>
      </p:sp>
      <p:sp>
        <p:nvSpPr>
          <p:cNvPr id="163" name="Рисунок 45">
            <a:extLst>
              <a:ext uri="{FF2B5EF4-FFF2-40B4-BE49-F238E27FC236}">
                <a16:creationId xmlns:a16="http://schemas.microsoft.com/office/drawing/2014/main" id="{F6134276-FC36-41B3-9533-6361E7F7ECE6}"/>
              </a:ext>
            </a:extLst>
          </p:cNvPr>
          <p:cNvSpPr/>
          <p:nvPr/>
        </p:nvSpPr>
        <p:spPr>
          <a:xfrm>
            <a:off x="10191200" y="1403764"/>
            <a:ext cx="342000" cy="342000"/>
          </a:xfrm>
          <a:custGeom>
            <a:avLst/>
            <a:gdLst>
              <a:gd name="connsiteX0" fmla="*/ 171000 w 342000"/>
              <a:gd name="connsiteY0" fmla="*/ 200070 h 342000"/>
              <a:gd name="connsiteX1" fmla="*/ 70599 w 342000"/>
              <a:gd name="connsiteY1" fmla="*/ 145350 h 342000"/>
              <a:gd name="connsiteX2" fmla="*/ 51300 w 342000"/>
              <a:gd name="connsiteY2" fmla="*/ 145350 h 342000"/>
              <a:gd name="connsiteX3" fmla="*/ 51300 w 342000"/>
              <a:gd name="connsiteY3" fmla="*/ 239400 h 342000"/>
              <a:gd name="connsiteX4" fmla="*/ 171000 w 342000"/>
              <a:gd name="connsiteY4" fmla="*/ 239400 h 342000"/>
              <a:gd name="connsiteX5" fmla="*/ 171000 w 342000"/>
              <a:gd name="connsiteY5" fmla="*/ 200070 h 342000"/>
              <a:gd name="connsiteX6" fmla="*/ 153900 w 342000"/>
              <a:gd name="connsiteY6" fmla="*/ 222300 h 342000"/>
              <a:gd name="connsiteX7" fmla="*/ 68400 w 342000"/>
              <a:gd name="connsiteY7" fmla="*/ 222300 h 342000"/>
              <a:gd name="connsiteX8" fmla="*/ 68400 w 342000"/>
              <a:gd name="connsiteY8" fmla="*/ 163671 h 342000"/>
              <a:gd name="connsiteX9" fmla="*/ 153900 w 342000"/>
              <a:gd name="connsiteY9" fmla="*/ 210330 h 342000"/>
              <a:gd name="connsiteX10" fmla="*/ 153900 w 342000"/>
              <a:gd name="connsiteY10" fmla="*/ 222300 h 342000"/>
              <a:gd name="connsiteX11" fmla="*/ 256989 w 342000"/>
              <a:gd name="connsiteY11" fmla="*/ 273600 h 342000"/>
              <a:gd name="connsiteX12" fmla="*/ 262363 w 342000"/>
              <a:gd name="connsiteY12" fmla="*/ 188100 h 342000"/>
              <a:gd name="connsiteX13" fmla="*/ 301937 w 342000"/>
              <a:gd name="connsiteY13" fmla="*/ 188100 h 342000"/>
              <a:gd name="connsiteX14" fmla="*/ 306334 w 342000"/>
              <a:gd name="connsiteY14" fmla="*/ 256500 h 342000"/>
              <a:gd name="connsiteX15" fmla="*/ 323434 w 342000"/>
              <a:gd name="connsiteY15" fmla="*/ 256500 h 342000"/>
              <a:gd name="connsiteX16" fmla="*/ 307311 w 342000"/>
              <a:gd name="connsiteY16" fmla="*/ 0 h 342000"/>
              <a:gd name="connsiteX17" fmla="*/ 256989 w 342000"/>
              <a:gd name="connsiteY17" fmla="*/ 0 h 342000"/>
              <a:gd name="connsiteX18" fmla="*/ 238911 w 342000"/>
              <a:gd name="connsiteY18" fmla="*/ 290700 h 342000"/>
              <a:gd name="connsiteX19" fmla="*/ 324900 w 342000"/>
              <a:gd name="connsiteY19" fmla="*/ 290700 h 342000"/>
              <a:gd name="connsiteX20" fmla="*/ 324900 w 342000"/>
              <a:gd name="connsiteY20" fmla="*/ 324900 h 342000"/>
              <a:gd name="connsiteX21" fmla="*/ 222300 w 342000"/>
              <a:gd name="connsiteY21" fmla="*/ 324900 h 342000"/>
              <a:gd name="connsiteX22" fmla="*/ 222300 w 342000"/>
              <a:gd name="connsiteY22" fmla="*/ 174420 h 342000"/>
              <a:gd name="connsiteX23" fmla="*/ 19299 w 342000"/>
              <a:gd name="connsiteY23" fmla="*/ 68400 h 342000"/>
              <a:gd name="connsiteX24" fmla="*/ 0 w 342000"/>
              <a:gd name="connsiteY24" fmla="*/ 68400 h 342000"/>
              <a:gd name="connsiteX25" fmla="*/ 0 w 342000"/>
              <a:gd name="connsiteY25" fmla="*/ 342000 h 342000"/>
              <a:gd name="connsiteX26" fmla="*/ 119700 w 342000"/>
              <a:gd name="connsiteY26" fmla="*/ 342000 h 342000"/>
              <a:gd name="connsiteX27" fmla="*/ 119700 w 342000"/>
              <a:gd name="connsiteY27" fmla="*/ 324900 h 342000"/>
              <a:gd name="connsiteX28" fmla="*/ 85500 w 342000"/>
              <a:gd name="connsiteY28" fmla="*/ 324900 h 342000"/>
              <a:gd name="connsiteX29" fmla="*/ 85500 w 342000"/>
              <a:gd name="connsiteY29" fmla="*/ 290700 h 342000"/>
              <a:gd name="connsiteX30" fmla="*/ 136800 w 342000"/>
              <a:gd name="connsiteY30" fmla="*/ 290700 h 342000"/>
              <a:gd name="connsiteX31" fmla="*/ 136800 w 342000"/>
              <a:gd name="connsiteY31" fmla="*/ 342000 h 342000"/>
              <a:gd name="connsiteX32" fmla="*/ 213750 w 342000"/>
              <a:gd name="connsiteY32" fmla="*/ 342000 h 342000"/>
              <a:gd name="connsiteX33" fmla="*/ 222300 w 342000"/>
              <a:gd name="connsiteY33" fmla="*/ 342000 h 342000"/>
              <a:gd name="connsiteX34" fmla="*/ 342000 w 342000"/>
              <a:gd name="connsiteY34" fmla="*/ 342000 h 342000"/>
              <a:gd name="connsiteX35" fmla="*/ 342000 w 342000"/>
              <a:gd name="connsiteY35" fmla="*/ 273600 h 342000"/>
              <a:gd name="connsiteX36" fmla="*/ 256989 w 342000"/>
              <a:gd name="connsiteY36" fmla="*/ 273600 h 342000"/>
              <a:gd name="connsiteX37" fmla="*/ 273111 w 342000"/>
              <a:gd name="connsiteY37" fmla="*/ 17100 h 342000"/>
              <a:gd name="connsiteX38" fmla="*/ 291189 w 342000"/>
              <a:gd name="connsiteY38" fmla="*/ 17100 h 342000"/>
              <a:gd name="connsiteX39" fmla="*/ 295586 w 342000"/>
              <a:gd name="connsiteY39" fmla="*/ 85500 h 342000"/>
              <a:gd name="connsiteX40" fmla="*/ 268714 w 342000"/>
              <a:gd name="connsiteY40" fmla="*/ 85500 h 342000"/>
              <a:gd name="connsiteX41" fmla="*/ 273111 w 342000"/>
              <a:gd name="connsiteY41" fmla="*/ 17100 h 342000"/>
              <a:gd name="connsiteX42" fmla="*/ 267737 w 342000"/>
              <a:gd name="connsiteY42" fmla="*/ 102600 h 342000"/>
              <a:gd name="connsiteX43" fmla="*/ 296563 w 342000"/>
              <a:gd name="connsiteY43" fmla="*/ 102600 h 342000"/>
              <a:gd name="connsiteX44" fmla="*/ 300960 w 342000"/>
              <a:gd name="connsiteY44" fmla="*/ 171000 h 342000"/>
              <a:gd name="connsiteX45" fmla="*/ 263584 w 342000"/>
              <a:gd name="connsiteY45" fmla="*/ 171000 h 342000"/>
              <a:gd name="connsiteX46" fmla="*/ 267737 w 342000"/>
              <a:gd name="connsiteY46" fmla="*/ 102600 h 342000"/>
              <a:gd name="connsiteX47" fmla="*/ 205200 w 342000"/>
              <a:gd name="connsiteY47" fmla="*/ 324900 h 342000"/>
              <a:gd name="connsiteX48" fmla="*/ 153900 w 342000"/>
              <a:gd name="connsiteY48" fmla="*/ 324900 h 342000"/>
              <a:gd name="connsiteX49" fmla="*/ 153900 w 342000"/>
              <a:gd name="connsiteY49" fmla="*/ 273600 h 342000"/>
              <a:gd name="connsiteX50" fmla="*/ 68400 w 342000"/>
              <a:gd name="connsiteY50" fmla="*/ 273600 h 342000"/>
              <a:gd name="connsiteX51" fmla="*/ 68400 w 342000"/>
              <a:gd name="connsiteY51" fmla="*/ 324900 h 342000"/>
              <a:gd name="connsiteX52" fmla="*/ 17100 w 342000"/>
              <a:gd name="connsiteY52" fmla="*/ 324900 h 342000"/>
              <a:gd name="connsiteX53" fmla="*/ 17100 w 342000"/>
              <a:gd name="connsiteY53" fmla="*/ 86477 h 342000"/>
              <a:gd name="connsiteX54" fmla="*/ 205200 w 342000"/>
              <a:gd name="connsiteY54" fmla="*/ 184680 h 342000"/>
              <a:gd name="connsiteX55" fmla="*/ 205200 w 342000"/>
              <a:gd name="connsiteY55" fmla="*/ 324900 h 3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42000" h="342000">
                <a:moveTo>
                  <a:pt x="171000" y="200070"/>
                </a:moveTo>
                <a:lnTo>
                  <a:pt x="70599" y="145350"/>
                </a:lnTo>
                <a:lnTo>
                  <a:pt x="51300" y="145350"/>
                </a:lnTo>
                <a:lnTo>
                  <a:pt x="51300" y="239400"/>
                </a:lnTo>
                <a:lnTo>
                  <a:pt x="171000" y="239400"/>
                </a:lnTo>
                <a:lnTo>
                  <a:pt x="171000" y="200070"/>
                </a:lnTo>
                <a:close/>
                <a:moveTo>
                  <a:pt x="153900" y="222300"/>
                </a:moveTo>
                <a:lnTo>
                  <a:pt x="68400" y="222300"/>
                </a:lnTo>
                <a:lnTo>
                  <a:pt x="68400" y="163671"/>
                </a:lnTo>
                <a:lnTo>
                  <a:pt x="153900" y="210330"/>
                </a:lnTo>
                <a:lnTo>
                  <a:pt x="153900" y="222300"/>
                </a:lnTo>
                <a:close/>
                <a:moveTo>
                  <a:pt x="256989" y="273600"/>
                </a:moveTo>
                <a:lnTo>
                  <a:pt x="262363" y="188100"/>
                </a:lnTo>
                <a:lnTo>
                  <a:pt x="301937" y="188100"/>
                </a:lnTo>
                <a:lnTo>
                  <a:pt x="306334" y="256500"/>
                </a:lnTo>
                <a:lnTo>
                  <a:pt x="323434" y="256500"/>
                </a:lnTo>
                <a:lnTo>
                  <a:pt x="307311" y="0"/>
                </a:lnTo>
                <a:lnTo>
                  <a:pt x="256989" y="0"/>
                </a:lnTo>
                <a:lnTo>
                  <a:pt x="238911" y="290700"/>
                </a:lnTo>
                <a:lnTo>
                  <a:pt x="324900" y="290700"/>
                </a:lnTo>
                <a:lnTo>
                  <a:pt x="324900" y="324900"/>
                </a:lnTo>
                <a:lnTo>
                  <a:pt x="222300" y="324900"/>
                </a:lnTo>
                <a:lnTo>
                  <a:pt x="222300" y="174420"/>
                </a:lnTo>
                <a:lnTo>
                  <a:pt x="19299" y="68400"/>
                </a:lnTo>
                <a:lnTo>
                  <a:pt x="0" y="68400"/>
                </a:lnTo>
                <a:lnTo>
                  <a:pt x="0" y="342000"/>
                </a:lnTo>
                <a:lnTo>
                  <a:pt x="119700" y="342000"/>
                </a:lnTo>
                <a:lnTo>
                  <a:pt x="119700" y="324900"/>
                </a:lnTo>
                <a:lnTo>
                  <a:pt x="85500" y="324900"/>
                </a:lnTo>
                <a:lnTo>
                  <a:pt x="85500" y="290700"/>
                </a:lnTo>
                <a:lnTo>
                  <a:pt x="136800" y="290700"/>
                </a:lnTo>
                <a:lnTo>
                  <a:pt x="136800" y="342000"/>
                </a:lnTo>
                <a:lnTo>
                  <a:pt x="213750" y="342000"/>
                </a:lnTo>
                <a:lnTo>
                  <a:pt x="222300" y="342000"/>
                </a:lnTo>
                <a:lnTo>
                  <a:pt x="342000" y="342000"/>
                </a:lnTo>
                <a:lnTo>
                  <a:pt x="342000" y="273600"/>
                </a:lnTo>
                <a:lnTo>
                  <a:pt x="256989" y="273600"/>
                </a:lnTo>
                <a:close/>
                <a:moveTo>
                  <a:pt x="273111" y="17100"/>
                </a:moveTo>
                <a:lnTo>
                  <a:pt x="291189" y="17100"/>
                </a:lnTo>
                <a:lnTo>
                  <a:pt x="295586" y="85500"/>
                </a:lnTo>
                <a:lnTo>
                  <a:pt x="268714" y="85500"/>
                </a:lnTo>
                <a:lnTo>
                  <a:pt x="273111" y="17100"/>
                </a:lnTo>
                <a:close/>
                <a:moveTo>
                  <a:pt x="267737" y="102600"/>
                </a:moveTo>
                <a:lnTo>
                  <a:pt x="296563" y="102600"/>
                </a:lnTo>
                <a:lnTo>
                  <a:pt x="300960" y="171000"/>
                </a:lnTo>
                <a:lnTo>
                  <a:pt x="263584" y="171000"/>
                </a:lnTo>
                <a:lnTo>
                  <a:pt x="267737" y="102600"/>
                </a:lnTo>
                <a:close/>
                <a:moveTo>
                  <a:pt x="205200" y="324900"/>
                </a:moveTo>
                <a:lnTo>
                  <a:pt x="153900" y="324900"/>
                </a:lnTo>
                <a:lnTo>
                  <a:pt x="153900" y="273600"/>
                </a:lnTo>
                <a:lnTo>
                  <a:pt x="68400" y="273600"/>
                </a:lnTo>
                <a:lnTo>
                  <a:pt x="68400" y="324900"/>
                </a:lnTo>
                <a:lnTo>
                  <a:pt x="17100" y="324900"/>
                </a:lnTo>
                <a:lnTo>
                  <a:pt x="17100" y="86477"/>
                </a:lnTo>
                <a:lnTo>
                  <a:pt x="205200" y="184680"/>
                </a:lnTo>
                <a:lnTo>
                  <a:pt x="205200" y="324900"/>
                </a:lnTo>
                <a:close/>
              </a:path>
            </a:pathLst>
          </a:custGeom>
          <a:solidFill>
            <a:srgbClr val="FF0000"/>
          </a:solidFill>
          <a:ln w="2381" cap="flat">
            <a:solidFill>
              <a:srgbClr val="C0000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Helvetica"/>
              <a:sym typeface="Arial"/>
            </a:endParaRPr>
          </a:p>
        </p:txBody>
      </p:sp>
      <p:grpSp>
        <p:nvGrpSpPr>
          <p:cNvPr id="164" name="Graphic 72">
            <a:extLst>
              <a:ext uri="{FF2B5EF4-FFF2-40B4-BE49-F238E27FC236}">
                <a16:creationId xmlns:a16="http://schemas.microsoft.com/office/drawing/2014/main" id="{EE56E6AD-08AA-4B8B-9052-FC6C3E951547}"/>
              </a:ext>
            </a:extLst>
          </p:cNvPr>
          <p:cNvGrpSpPr/>
          <p:nvPr/>
        </p:nvGrpSpPr>
        <p:grpSpPr>
          <a:xfrm>
            <a:off x="1455997" y="1304764"/>
            <a:ext cx="540000" cy="540000"/>
            <a:chOff x="403166" y="1086681"/>
            <a:chExt cx="763200" cy="763200"/>
          </a:xfrm>
        </p:grpSpPr>
        <p:sp>
          <p:nvSpPr>
            <p:cNvPr id="165" name="Полилиния: фигура 33">
              <a:extLst>
                <a:ext uri="{FF2B5EF4-FFF2-40B4-BE49-F238E27FC236}">
                  <a16:creationId xmlns:a16="http://schemas.microsoft.com/office/drawing/2014/main" id="{77B74814-7CCB-4A1F-B2EF-977DD55642E1}"/>
                </a:ext>
              </a:extLst>
            </p:cNvPr>
            <p:cNvSpPr/>
            <p:nvPr/>
          </p:nvSpPr>
          <p:spPr>
            <a:xfrm>
              <a:off x="502208" y="1181229"/>
              <a:ext cx="569619" cy="569609"/>
            </a:xfrm>
            <a:custGeom>
              <a:avLst/>
              <a:gdLst>
                <a:gd name="connsiteX0" fmla="*/ 504926 w 569619"/>
                <a:gd name="connsiteY0" fmla="*/ 64683 h 569609"/>
                <a:gd name="connsiteX1" fmla="*/ 192044 w 569619"/>
                <a:gd name="connsiteY1" fmla="*/ 64917 h 569609"/>
                <a:gd name="connsiteX2" fmla="*/ 181329 w 569619"/>
                <a:gd name="connsiteY2" fmla="*/ 366043 h 569609"/>
                <a:gd name="connsiteX3" fmla="*/ 0 w 569619"/>
                <a:gd name="connsiteY3" fmla="*/ 547372 h 569609"/>
                <a:gd name="connsiteX4" fmla="*/ 22237 w 569619"/>
                <a:gd name="connsiteY4" fmla="*/ 569609 h 569609"/>
                <a:gd name="connsiteX5" fmla="*/ 203566 w 569619"/>
                <a:gd name="connsiteY5" fmla="*/ 388280 h 569609"/>
                <a:gd name="connsiteX6" fmla="*/ 203566 w 569619"/>
                <a:gd name="connsiteY6" fmla="*/ 388280 h 569609"/>
                <a:gd name="connsiteX7" fmla="*/ 225873 w 569619"/>
                <a:gd name="connsiteY7" fmla="*/ 365973 h 569609"/>
                <a:gd name="connsiteX8" fmla="*/ 214199 w 569619"/>
                <a:gd name="connsiteY8" fmla="*/ 355254 h 569609"/>
                <a:gd name="connsiteX9" fmla="*/ 214732 w 569619"/>
                <a:gd name="connsiteY9" fmla="*/ 88195 h 569609"/>
                <a:gd name="connsiteX10" fmla="*/ 481791 w 569619"/>
                <a:gd name="connsiteY10" fmla="*/ 88727 h 569609"/>
                <a:gd name="connsiteX11" fmla="*/ 481258 w 569619"/>
                <a:gd name="connsiteY11" fmla="*/ 355786 h 569609"/>
                <a:gd name="connsiteX12" fmla="*/ 251839 w 569619"/>
                <a:gd name="connsiteY12" fmla="*/ 384516 h 569609"/>
                <a:gd name="connsiteX13" fmla="*/ 229081 w 569619"/>
                <a:gd name="connsiteY13" fmla="*/ 407429 h 569609"/>
                <a:gd name="connsiteX14" fmla="*/ 534714 w 569619"/>
                <a:gd name="connsiteY14" fmla="*/ 340349 h 569609"/>
                <a:gd name="connsiteX15" fmla="*/ 504874 w 569619"/>
                <a:gd name="connsiteY15" fmla="*/ 64683 h 569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69619" h="569609">
                  <a:moveTo>
                    <a:pt x="504926" y="64683"/>
                  </a:moveTo>
                  <a:cubicBezTo>
                    <a:pt x="418461" y="-21652"/>
                    <a:pt x="278379" y="-21547"/>
                    <a:pt x="192044" y="64917"/>
                  </a:cubicBezTo>
                  <a:cubicBezTo>
                    <a:pt x="110111" y="146975"/>
                    <a:pt x="105434" y="278370"/>
                    <a:pt x="181329" y="366043"/>
                  </a:cubicBezTo>
                  <a:lnTo>
                    <a:pt x="0" y="547372"/>
                  </a:lnTo>
                  <a:lnTo>
                    <a:pt x="22237" y="569609"/>
                  </a:lnTo>
                  <a:lnTo>
                    <a:pt x="203566" y="388280"/>
                  </a:lnTo>
                  <a:lnTo>
                    <a:pt x="203566" y="388280"/>
                  </a:lnTo>
                  <a:lnTo>
                    <a:pt x="225873" y="365973"/>
                  </a:lnTo>
                  <a:cubicBezTo>
                    <a:pt x="221861" y="362574"/>
                    <a:pt x="217968" y="359001"/>
                    <a:pt x="214199" y="355254"/>
                  </a:cubicBezTo>
                  <a:cubicBezTo>
                    <a:pt x="140599" y="281361"/>
                    <a:pt x="140838" y="161793"/>
                    <a:pt x="214732" y="88195"/>
                  </a:cubicBezTo>
                  <a:cubicBezTo>
                    <a:pt x="288625" y="14595"/>
                    <a:pt x="408191" y="14833"/>
                    <a:pt x="481791" y="88727"/>
                  </a:cubicBezTo>
                  <a:cubicBezTo>
                    <a:pt x="555391" y="162620"/>
                    <a:pt x="555152" y="282186"/>
                    <a:pt x="481258" y="355786"/>
                  </a:cubicBezTo>
                  <a:cubicBezTo>
                    <a:pt x="420272" y="416532"/>
                    <a:pt x="325923" y="428346"/>
                    <a:pt x="251839" y="384516"/>
                  </a:cubicBezTo>
                  <a:lnTo>
                    <a:pt x="229081" y="407429"/>
                  </a:lnTo>
                  <a:cubicBezTo>
                    <a:pt x="332002" y="473304"/>
                    <a:pt x="468839" y="443270"/>
                    <a:pt x="534714" y="340349"/>
                  </a:cubicBezTo>
                  <a:cubicBezTo>
                    <a:pt x="590717" y="252850"/>
                    <a:pt x="578303" y="138172"/>
                    <a:pt x="504874" y="64683"/>
                  </a:cubicBez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66" name="Полилиния: фигура 34">
              <a:extLst>
                <a:ext uri="{FF2B5EF4-FFF2-40B4-BE49-F238E27FC236}">
                  <a16:creationId xmlns:a16="http://schemas.microsoft.com/office/drawing/2014/main" id="{FA6EC0AE-1347-4379-A4DD-88BF11A69741}"/>
                </a:ext>
              </a:extLst>
            </p:cNvPr>
            <p:cNvSpPr/>
            <p:nvPr/>
          </p:nvSpPr>
          <p:spPr>
            <a:xfrm>
              <a:off x="737603" y="1311096"/>
              <a:ext cx="31447" cy="188631"/>
            </a:xfrm>
            <a:custGeom>
              <a:avLst/>
              <a:gdLst>
                <a:gd name="connsiteX0" fmla="*/ 0 w 31447"/>
                <a:gd name="connsiteY0" fmla="*/ 0 h 188631"/>
                <a:gd name="connsiteX1" fmla="*/ 31447 w 31447"/>
                <a:gd name="connsiteY1" fmla="*/ 0 h 188631"/>
                <a:gd name="connsiteX2" fmla="*/ 31447 w 31447"/>
                <a:gd name="connsiteY2" fmla="*/ 188632 h 188631"/>
                <a:gd name="connsiteX3" fmla="*/ 0 w 31447"/>
                <a:gd name="connsiteY3" fmla="*/ 188632 h 188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47" h="188631">
                  <a:moveTo>
                    <a:pt x="0" y="0"/>
                  </a:moveTo>
                  <a:lnTo>
                    <a:pt x="31447" y="0"/>
                  </a:lnTo>
                  <a:lnTo>
                    <a:pt x="31447" y="188632"/>
                  </a:lnTo>
                  <a:lnTo>
                    <a:pt x="0" y="188632"/>
                  </a:ln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67" name="Полилиния: фигура 35">
              <a:extLst>
                <a:ext uri="{FF2B5EF4-FFF2-40B4-BE49-F238E27FC236}">
                  <a16:creationId xmlns:a16="http://schemas.microsoft.com/office/drawing/2014/main" id="{EC3917AE-A1A4-4958-9460-2649FDD76591}"/>
                </a:ext>
              </a:extLst>
            </p:cNvPr>
            <p:cNvSpPr/>
            <p:nvPr/>
          </p:nvSpPr>
          <p:spPr>
            <a:xfrm>
              <a:off x="800480" y="1405421"/>
              <a:ext cx="31447" cy="94324"/>
            </a:xfrm>
            <a:custGeom>
              <a:avLst/>
              <a:gdLst>
                <a:gd name="connsiteX0" fmla="*/ 0 w 31447"/>
                <a:gd name="connsiteY0" fmla="*/ 0 h 94324"/>
                <a:gd name="connsiteX1" fmla="*/ 31447 w 31447"/>
                <a:gd name="connsiteY1" fmla="*/ 0 h 94324"/>
                <a:gd name="connsiteX2" fmla="*/ 31447 w 31447"/>
                <a:gd name="connsiteY2" fmla="*/ 94325 h 94324"/>
                <a:gd name="connsiteX3" fmla="*/ 0 w 31447"/>
                <a:gd name="connsiteY3" fmla="*/ 94325 h 94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47" h="94324">
                  <a:moveTo>
                    <a:pt x="0" y="0"/>
                  </a:moveTo>
                  <a:lnTo>
                    <a:pt x="31447" y="0"/>
                  </a:lnTo>
                  <a:lnTo>
                    <a:pt x="31447" y="94325"/>
                  </a:lnTo>
                  <a:lnTo>
                    <a:pt x="0" y="94325"/>
                  </a:ln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68" name="Полилиния: фигура 36">
              <a:extLst>
                <a:ext uri="{FF2B5EF4-FFF2-40B4-BE49-F238E27FC236}">
                  <a16:creationId xmlns:a16="http://schemas.microsoft.com/office/drawing/2014/main" id="{093E8929-F0CB-4BA4-B1F2-B7C97498B47C}"/>
                </a:ext>
              </a:extLst>
            </p:cNvPr>
            <p:cNvSpPr/>
            <p:nvPr/>
          </p:nvSpPr>
          <p:spPr>
            <a:xfrm>
              <a:off x="863358" y="1373973"/>
              <a:ext cx="31447" cy="125754"/>
            </a:xfrm>
            <a:custGeom>
              <a:avLst/>
              <a:gdLst>
                <a:gd name="connsiteX0" fmla="*/ 0 w 31447"/>
                <a:gd name="connsiteY0" fmla="*/ 0 h 125754"/>
                <a:gd name="connsiteX1" fmla="*/ 31447 w 31447"/>
                <a:gd name="connsiteY1" fmla="*/ 0 h 125754"/>
                <a:gd name="connsiteX2" fmla="*/ 31447 w 31447"/>
                <a:gd name="connsiteY2" fmla="*/ 125755 h 125754"/>
                <a:gd name="connsiteX3" fmla="*/ 0 w 31447"/>
                <a:gd name="connsiteY3" fmla="*/ 125755 h 12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47" h="125754">
                  <a:moveTo>
                    <a:pt x="0" y="0"/>
                  </a:moveTo>
                  <a:lnTo>
                    <a:pt x="31447" y="0"/>
                  </a:lnTo>
                  <a:lnTo>
                    <a:pt x="31447" y="125755"/>
                  </a:lnTo>
                  <a:lnTo>
                    <a:pt x="0" y="125755"/>
                  </a:ln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69" name="Полилиния: фигура 37">
              <a:extLst>
                <a:ext uri="{FF2B5EF4-FFF2-40B4-BE49-F238E27FC236}">
                  <a16:creationId xmlns:a16="http://schemas.microsoft.com/office/drawing/2014/main" id="{E75C8195-009C-47E7-8FB3-AB72430AF569}"/>
                </a:ext>
              </a:extLst>
            </p:cNvPr>
            <p:cNvSpPr/>
            <p:nvPr/>
          </p:nvSpPr>
          <p:spPr>
            <a:xfrm>
              <a:off x="926235" y="1342543"/>
              <a:ext cx="31447" cy="157201"/>
            </a:xfrm>
            <a:custGeom>
              <a:avLst/>
              <a:gdLst>
                <a:gd name="connsiteX0" fmla="*/ 0 w 31447"/>
                <a:gd name="connsiteY0" fmla="*/ 0 h 157201"/>
                <a:gd name="connsiteX1" fmla="*/ 31447 w 31447"/>
                <a:gd name="connsiteY1" fmla="*/ 0 h 157201"/>
                <a:gd name="connsiteX2" fmla="*/ 31447 w 31447"/>
                <a:gd name="connsiteY2" fmla="*/ 157202 h 157201"/>
                <a:gd name="connsiteX3" fmla="*/ 0 w 31447"/>
                <a:gd name="connsiteY3" fmla="*/ 157202 h 15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47" h="157201">
                  <a:moveTo>
                    <a:pt x="0" y="0"/>
                  </a:moveTo>
                  <a:lnTo>
                    <a:pt x="31447" y="0"/>
                  </a:lnTo>
                  <a:lnTo>
                    <a:pt x="31447" y="157202"/>
                  </a:lnTo>
                  <a:lnTo>
                    <a:pt x="0" y="157202"/>
                  </a:ln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170" name="Graphic 64">
            <a:extLst>
              <a:ext uri="{FF2B5EF4-FFF2-40B4-BE49-F238E27FC236}">
                <a16:creationId xmlns:a16="http://schemas.microsoft.com/office/drawing/2014/main" id="{C2914909-A295-4985-9364-07B0FC0EFB38}"/>
              </a:ext>
            </a:extLst>
          </p:cNvPr>
          <p:cNvGrpSpPr/>
          <p:nvPr/>
        </p:nvGrpSpPr>
        <p:grpSpPr>
          <a:xfrm>
            <a:off x="7279465" y="1304764"/>
            <a:ext cx="540000" cy="540000"/>
            <a:chOff x="4832974" y="1968002"/>
            <a:chExt cx="762060" cy="762060"/>
          </a:xfrm>
        </p:grpSpPr>
        <p:sp>
          <p:nvSpPr>
            <p:cNvPr id="171" name="Полилиния: фигура 22">
              <a:extLst>
                <a:ext uri="{FF2B5EF4-FFF2-40B4-BE49-F238E27FC236}">
                  <a16:creationId xmlns:a16="http://schemas.microsoft.com/office/drawing/2014/main" id="{CB8CEC9E-4AF6-42E6-BD09-E27818F63685}"/>
                </a:ext>
              </a:extLst>
            </p:cNvPr>
            <p:cNvSpPr/>
            <p:nvPr/>
          </p:nvSpPr>
          <p:spPr>
            <a:xfrm>
              <a:off x="4899994" y="2035022"/>
              <a:ext cx="628028" cy="628013"/>
            </a:xfrm>
            <a:custGeom>
              <a:avLst/>
              <a:gdLst>
                <a:gd name="connsiteX0" fmla="*/ 620271 w 628028"/>
                <a:gd name="connsiteY0" fmla="*/ 244732 h 628013"/>
                <a:gd name="connsiteX1" fmla="*/ 616721 w 628028"/>
                <a:gd name="connsiteY1" fmla="*/ 229023 h 628013"/>
                <a:gd name="connsiteX2" fmla="*/ 555410 w 628028"/>
                <a:gd name="connsiteY2" fmla="*/ 244611 h 628013"/>
                <a:gd name="connsiteX3" fmla="*/ 528772 w 628028"/>
                <a:gd name="connsiteY3" fmla="*/ 183663 h 628013"/>
                <a:gd name="connsiteX4" fmla="*/ 580731 w 628028"/>
                <a:gd name="connsiteY4" fmla="*/ 147517 h 628013"/>
                <a:gd name="connsiteX5" fmla="*/ 571759 w 628028"/>
                <a:gd name="connsiteY5" fmla="*/ 134631 h 628013"/>
                <a:gd name="connsiteX6" fmla="*/ 483551 w 628028"/>
                <a:gd name="connsiteY6" fmla="*/ 49627 h 628013"/>
                <a:gd name="connsiteX7" fmla="*/ 470284 w 628028"/>
                <a:gd name="connsiteY7" fmla="*/ 41210 h 628013"/>
                <a:gd name="connsiteX8" fmla="*/ 436165 w 628028"/>
                <a:gd name="connsiteY8" fmla="*/ 94450 h 628013"/>
                <a:gd name="connsiteX9" fmla="*/ 373814 w 628028"/>
                <a:gd name="connsiteY9" fmla="*/ 70030 h 628013"/>
                <a:gd name="connsiteX10" fmla="*/ 384951 w 628028"/>
                <a:gd name="connsiteY10" fmla="*/ 7766 h 628013"/>
                <a:gd name="connsiteX11" fmla="*/ 369433 w 628028"/>
                <a:gd name="connsiteY11" fmla="*/ 4995 h 628013"/>
                <a:gd name="connsiteX12" fmla="*/ 246949 w 628028"/>
                <a:gd name="connsiteY12" fmla="*/ 7263 h 628013"/>
                <a:gd name="connsiteX13" fmla="*/ 231638 w 628028"/>
                <a:gd name="connsiteY13" fmla="*/ 10727 h 628013"/>
                <a:gd name="connsiteX14" fmla="*/ 245147 w 628028"/>
                <a:gd name="connsiteY14" fmla="*/ 72472 h 628013"/>
                <a:gd name="connsiteX15" fmla="*/ 183663 w 628028"/>
                <a:gd name="connsiteY15" fmla="*/ 99248 h 628013"/>
                <a:gd name="connsiteX16" fmla="*/ 147517 w 628028"/>
                <a:gd name="connsiteY16" fmla="*/ 47289 h 628013"/>
                <a:gd name="connsiteX17" fmla="*/ 134631 w 628028"/>
                <a:gd name="connsiteY17" fmla="*/ 56260 h 628013"/>
                <a:gd name="connsiteX18" fmla="*/ 49627 w 628028"/>
                <a:gd name="connsiteY18" fmla="*/ 144469 h 628013"/>
                <a:gd name="connsiteX19" fmla="*/ 41210 w 628028"/>
                <a:gd name="connsiteY19" fmla="*/ 157736 h 628013"/>
                <a:gd name="connsiteX20" fmla="*/ 94450 w 628028"/>
                <a:gd name="connsiteY20" fmla="*/ 191855 h 628013"/>
                <a:gd name="connsiteX21" fmla="*/ 70030 w 628028"/>
                <a:gd name="connsiteY21" fmla="*/ 254206 h 628013"/>
                <a:gd name="connsiteX22" fmla="*/ 7766 w 628028"/>
                <a:gd name="connsiteY22" fmla="*/ 243069 h 628013"/>
                <a:gd name="connsiteX23" fmla="*/ 4995 w 628028"/>
                <a:gd name="connsiteY23" fmla="*/ 258518 h 628013"/>
                <a:gd name="connsiteX24" fmla="*/ 7263 w 628028"/>
                <a:gd name="connsiteY24" fmla="*/ 381002 h 628013"/>
                <a:gd name="connsiteX25" fmla="*/ 10727 w 628028"/>
                <a:gd name="connsiteY25" fmla="*/ 396312 h 628013"/>
                <a:gd name="connsiteX26" fmla="*/ 72489 w 628028"/>
                <a:gd name="connsiteY26" fmla="*/ 382803 h 628013"/>
                <a:gd name="connsiteX27" fmla="*/ 99248 w 628028"/>
                <a:gd name="connsiteY27" fmla="*/ 444357 h 628013"/>
                <a:gd name="connsiteX28" fmla="*/ 47289 w 628028"/>
                <a:gd name="connsiteY28" fmla="*/ 480503 h 628013"/>
                <a:gd name="connsiteX29" fmla="*/ 56260 w 628028"/>
                <a:gd name="connsiteY29" fmla="*/ 493389 h 628013"/>
                <a:gd name="connsiteX30" fmla="*/ 144469 w 628028"/>
                <a:gd name="connsiteY30" fmla="*/ 578393 h 628013"/>
                <a:gd name="connsiteX31" fmla="*/ 157736 w 628028"/>
                <a:gd name="connsiteY31" fmla="*/ 586810 h 628013"/>
                <a:gd name="connsiteX32" fmla="*/ 191855 w 628028"/>
                <a:gd name="connsiteY32" fmla="*/ 533570 h 628013"/>
                <a:gd name="connsiteX33" fmla="*/ 254206 w 628028"/>
                <a:gd name="connsiteY33" fmla="*/ 557990 h 628013"/>
                <a:gd name="connsiteX34" fmla="*/ 243052 w 628028"/>
                <a:gd name="connsiteY34" fmla="*/ 620254 h 628013"/>
                <a:gd name="connsiteX35" fmla="*/ 258518 w 628028"/>
                <a:gd name="connsiteY35" fmla="*/ 623025 h 628013"/>
                <a:gd name="connsiteX36" fmla="*/ 314252 w 628028"/>
                <a:gd name="connsiteY36" fmla="*/ 628013 h 628013"/>
                <a:gd name="connsiteX37" fmla="*/ 381002 w 628028"/>
                <a:gd name="connsiteY37" fmla="*/ 620756 h 628013"/>
                <a:gd name="connsiteX38" fmla="*/ 396312 w 628028"/>
                <a:gd name="connsiteY38" fmla="*/ 617293 h 628013"/>
                <a:gd name="connsiteX39" fmla="*/ 382803 w 628028"/>
                <a:gd name="connsiteY39" fmla="*/ 555531 h 628013"/>
                <a:gd name="connsiteX40" fmla="*/ 444357 w 628028"/>
                <a:gd name="connsiteY40" fmla="*/ 528772 h 628013"/>
                <a:gd name="connsiteX41" fmla="*/ 480503 w 628028"/>
                <a:gd name="connsiteY41" fmla="*/ 580731 h 628013"/>
                <a:gd name="connsiteX42" fmla="*/ 493389 w 628028"/>
                <a:gd name="connsiteY42" fmla="*/ 571759 h 628013"/>
                <a:gd name="connsiteX43" fmla="*/ 578393 w 628028"/>
                <a:gd name="connsiteY43" fmla="*/ 483551 h 628013"/>
                <a:gd name="connsiteX44" fmla="*/ 586810 w 628028"/>
                <a:gd name="connsiteY44" fmla="*/ 470284 h 628013"/>
                <a:gd name="connsiteX45" fmla="*/ 533570 w 628028"/>
                <a:gd name="connsiteY45" fmla="*/ 436165 h 628013"/>
                <a:gd name="connsiteX46" fmla="*/ 557990 w 628028"/>
                <a:gd name="connsiteY46" fmla="*/ 373814 h 628013"/>
                <a:gd name="connsiteX47" fmla="*/ 620254 w 628028"/>
                <a:gd name="connsiteY47" fmla="*/ 384951 h 628013"/>
                <a:gd name="connsiteX48" fmla="*/ 623025 w 628028"/>
                <a:gd name="connsiteY48" fmla="*/ 369502 h 628013"/>
                <a:gd name="connsiteX49" fmla="*/ 620271 w 628028"/>
                <a:gd name="connsiteY49" fmla="*/ 244732 h 628013"/>
                <a:gd name="connsiteX50" fmla="*/ 594465 w 628028"/>
                <a:gd name="connsiteY50" fmla="*/ 348303 h 628013"/>
                <a:gd name="connsiteX51" fmla="*/ 533085 w 628028"/>
                <a:gd name="connsiteY51" fmla="*/ 337305 h 628013"/>
                <a:gd name="connsiteX52" fmla="*/ 530314 w 628028"/>
                <a:gd name="connsiteY52" fmla="*/ 352771 h 628013"/>
                <a:gd name="connsiteX53" fmla="*/ 499139 w 628028"/>
                <a:gd name="connsiteY53" fmla="*/ 432614 h 628013"/>
                <a:gd name="connsiteX54" fmla="*/ 490669 w 628028"/>
                <a:gd name="connsiteY54" fmla="*/ 445812 h 628013"/>
                <a:gd name="connsiteX55" fmla="*/ 543182 w 628028"/>
                <a:gd name="connsiteY55" fmla="*/ 479481 h 628013"/>
                <a:gd name="connsiteX56" fmla="*/ 488158 w 628028"/>
                <a:gd name="connsiteY56" fmla="*/ 536635 h 628013"/>
                <a:gd name="connsiteX57" fmla="*/ 452462 w 628028"/>
                <a:gd name="connsiteY57" fmla="*/ 485473 h 628013"/>
                <a:gd name="connsiteX58" fmla="*/ 439577 w 628028"/>
                <a:gd name="connsiteY58" fmla="*/ 494445 h 628013"/>
                <a:gd name="connsiteX59" fmla="*/ 360998 w 628028"/>
                <a:gd name="connsiteY59" fmla="*/ 528772 h 628013"/>
                <a:gd name="connsiteX60" fmla="*/ 345670 w 628028"/>
                <a:gd name="connsiteY60" fmla="*/ 532132 h 628013"/>
                <a:gd name="connsiteX61" fmla="*/ 359041 w 628028"/>
                <a:gd name="connsiteY61" fmla="*/ 593028 h 628013"/>
                <a:gd name="connsiteX62" fmla="*/ 279769 w 628028"/>
                <a:gd name="connsiteY62" fmla="*/ 594465 h 628013"/>
                <a:gd name="connsiteX63" fmla="*/ 290767 w 628028"/>
                <a:gd name="connsiteY63" fmla="*/ 533085 h 628013"/>
                <a:gd name="connsiteX64" fmla="*/ 275301 w 628028"/>
                <a:gd name="connsiteY64" fmla="*/ 530314 h 628013"/>
                <a:gd name="connsiteX65" fmla="*/ 195458 w 628028"/>
                <a:gd name="connsiteY65" fmla="*/ 499139 h 628013"/>
                <a:gd name="connsiteX66" fmla="*/ 182208 w 628028"/>
                <a:gd name="connsiteY66" fmla="*/ 490669 h 628013"/>
                <a:gd name="connsiteX67" fmla="*/ 148539 w 628028"/>
                <a:gd name="connsiteY67" fmla="*/ 543182 h 628013"/>
                <a:gd name="connsiteX68" fmla="*/ 91385 w 628028"/>
                <a:gd name="connsiteY68" fmla="*/ 488158 h 628013"/>
                <a:gd name="connsiteX69" fmla="*/ 142564 w 628028"/>
                <a:gd name="connsiteY69" fmla="*/ 452532 h 628013"/>
                <a:gd name="connsiteX70" fmla="*/ 133592 w 628028"/>
                <a:gd name="connsiteY70" fmla="*/ 439646 h 628013"/>
                <a:gd name="connsiteX71" fmla="*/ 99248 w 628028"/>
                <a:gd name="connsiteY71" fmla="*/ 360998 h 628013"/>
                <a:gd name="connsiteX72" fmla="*/ 95888 w 628028"/>
                <a:gd name="connsiteY72" fmla="*/ 345670 h 628013"/>
                <a:gd name="connsiteX73" fmla="*/ 34992 w 628028"/>
                <a:gd name="connsiteY73" fmla="*/ 359041 h 628013"/>
                <a:gd name="connsiteX74" fmla="*/ 33555 w 628028"/>
                <a:gd name="connsiteY74" fmla="*/ 279769 h 628013"/>
                <a:gd name="connsiteX75" fmla="*/ 94935 w 628028"/>
                <a:gd name="connsiteY75" fmla="*/ 290767 h 628013"/>
                <a:gd name="connsiteX76" fmla="*/ 97706 w 628028"/>
                <a:gd name="connsiteY76" fmla="*/ 275301 h 628013"/>
                <a:gd name="connsiteX77" fmla="*/ 128881 w 628028"/>
                <a:gd name="connsiteY77" fmla="*/ 195458 h 628013"/>
                <a:gd name="connsiteX78" fmla="*/ 137351 w 628028"/>
                <a:gd name="connsiteY78" fmla="*/ 182208 h 628013"/>
                <a:gd name="connsiteX79" fmla="*/ 84907 w 628028"/>
                <a:gd name="connsiteY79" fmla="*/ 148539 h 628013"/>
                <a:gd name="connsiteX80" fmla="*/ 139931 w 628028"/>
                <a:gd name="connsiteY80" fmla="*/ 91471 h 628013"/>
                <a:gd name="connsiteX81" fmla="*/ 175558 w 628028"/>
                <a:gd name="connsiteY81" fmla="*/ 142633 h 628013"/>
                <a:gd name="connsiteX82" fmla="*/ 188443 w 628028"/>
                <a:gd name="connsiteY82" fmla="*/ 133662 h 628013"/>
                <a:gd name="connsiteX83" fmla="*/ 267022 w 628028"/>
                <a:gd name="connsiteY83" fmla="*/ 99248 h 628013"/>
                <a:gd name="connsiteX84" fmla="*/ 282350 w 628028"/>
                <a:gd name="connsiteY84" fmla="*/ 95888 h 628013"/>
                <a:gd name="connsiteX85" fmla="*/ 268979 w 628028"/>
                <a:gd name="connsiteY85" fmla="*/ 34992 h 628013"/>
                <a:gd name="connsiteX86" fmla="*/ 348251 w 628028"/>
                <a:gd name="connsiteY86" fmla="*/ 33555 h 628013"/>
                <a:gd name="connsiteX87" fmla="*/ 337253 w 628028"/>
                <a:gd name="connsiteY87" fmla="*/ 94935 h 628013"/>
                <a:gd name="connsiteX88" fmla="*/ 352719 w 628028"/>
                <a:gd name="connsiteY88" fmla="*/ 97706 h 628013"/>
                <a:gd name="connsiteX89" fmla="*/ 432562 w 628028"/>
                <a:gd name="connsiteY89" fmla="*/ 128881 h 628013"/>
                <a:gd name="connsiteX90" fmla="*/ 445812 w 628028"/>
                <a:gd name="connsiteY90" fmla="*/ 137351 h 628013"/>
                <a:gd name="connsiteX91" fmla="*/ 479481 w 628028"/>
                <a:gd name="connsiteY91" fmla="*/ 84838 h 628013"/>
                <a:gd name="connsiteX92" fmla="*/ 536549 w 628028"/>
                <a:gd name="connsiteY92" fmla="*/ 139862 h 628013"/>
                <a:gd name="connsiteX93" fmla="*/ 485473 w 628028"/>
                <a:gd name="connsiteY93" fmla="*/ 175558 h 628013"/>
                <a:gd name="connsiteX94" fmla="*/ 494445 w 628028"/>
                <a:gd name="connsiteY94" fmla="*/ 188443 h 628013"/>
                <a:gd name="connsiteX95" fmla="*/ 528772 w 628028"/>
                <a:gd name="connsiteY95" fmla="*/ 267022 h 628013"/>
                <a:gd name="connsiteX96" fmla="*/ 532236 w 628028"/>
                <a:gd name="connsiteY96" fmla="*/ 282869 h 628013"/>
                <a:gd name="connsiteX97" fmla="*/ 592855 w 628028"/>
                <a:gd name="connsiteY97" fmla="*/ 267472 h 628013"/>
                <a:gd name="connsiteX98" fmla="*/ 594465 w 628028"/>
                <a:gd name="connsiteY98" fmla="*/ 348285 h 628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628028" h="628013">
                  <a:moveTo>
                    <a:pt x="620271" y="244732"/>
                  </a:moveTo>
                  <a:lnTo>
                    <a:pt x="616721" y="229023"/>
                  </a:lnTo>
                  <a:lnTo>
                    <a:pt x="555410" y="244611"/>
                  </a:lnTo>
                  <a:cubicBezTo>
                    <a:pt x="549293" y="223197"/>
                    <a:pt x="540333" y="202699"/>
                    <a:pt x="528772" y="183663"/>
                  </a:cubicBezTo>
                  <a:lnTo>
                    <a:pt x="580731" y="147517"/>
                  </a:lnTo>
                  <a:lnTo>
                    <a:pt x="571759" y="134631"/>
                  </a:lnTo>
                  <a:cubicBezTo>
                    <a:pt x="548241" y="100764"/>
                    <a:pt x="518265" y="71876"/>
                    <a:pt x="483551" y="49627"/>
                  </a:cubicBezTo>
                  <a:lnTo>
                    <a:pt x="470284" y="41210"/>
                  </a:lnTo>
                  <a:lnTo>
                    <a:pt x="436165" y="94450"/>
                  </a:lnTo>
                  <a:cubicBezTo>
                    <a:pt x="416575" y="83542"/>
                    <a:pt x="395602" y="75328"/>
                    <a:pt x="373814" y="70030"/>
                  </a:cubicBezTo>
                  <a:lnTo>
                    <a:pt x="384951" y="7766"/>
                  </a:lnTo>
                  <a:lnTo>
                    <a:pt x="369433" y="4995"/>
                  </a:lnTo>
                  <a:cubicBezTo>
                    <a:pt x="328856" y="-2357"/>
                    <a:pt x="287225" y="-1586"/>
                    <a:pt x="246949" y="7263"/>
                  </a:cubicBezTo>
                  <a:lnTo>
                    <a:pt x="231638" y="10727"/>
                  </a:lnTo>
                  <a:lnTo>
                    <a:pt x="245147" y="72472"/>
                  </a:lnTo>
                  <a:cubicBezTo>
                    <a:pt x="223541" y="78592"/>
                    <a:pt x="202860" y="87599"/>
                    <a:pt x="183663" y="99248"/>
                  </a:cubicBezTo>
                  <a:lnTo>
                    <a:pt x="147517" y="47289"/>
                  </a:lnTo>
                  <a:lnTo>
                    <a:pt x="134631" y="56260"/>
                  </a:lnTo>
                  <a:cubicBezTo>
                    <a:pt x="100760" y="79774"/>
                    <a:pt x="71871" y="109752"/>
                    <a:pt x="49627" y="144469"/>
                  </a:cubicBezTo>
                  <a:lnTo>
                    <a:pt x="41210" y="157736"/>
                  </a:lnTo>
                  <a:lnTo>
                    <a:pt x="94450" y="191855"/>
                  </a:lnTo>
                  <a:cubicBezTo>
                    <a:pt x="83542" y="211445"/>
                    <a:pt x="75328" y="232418"/>
                    <a:pt x="70030" y="254206"/>
                  </a:cubicBezTo>
                  <a:lnTo>
                    <a:pt x="7766" y="243069"/>
                  </a:lnTo>
                  <a:lnTo>
                    <a:pt x="4995" y="258518"/>
                  </a:lnTo>
                  <a:cubicBezTo>
                    <a:pt x="-2357" y="299094"/>
                    <a:pt x="-1586" y="340725"/>
                    <a:pt x="7263" y="381002"/>
                  </a:cubicBezTo>
                  <a:lnTo>
                    <a:pt x="10727" y="396312"/>
                  </a:lnTo>
                  <a:lnTo>
                    <a:pt x="72489" y="382803"/>
                  </a:lnTo>
                  <a:cubicBezTo>
                    <a:pt x="78594" y="404434"/>
                    <a:pt x="87595" y="425139"/>
                    <a:pt x="99248" y="444357"/>
                  </a:cubicBezTo>
                  <a:lnTo>
                    <a:pt x="47289" y="480503"/>
                  </a:lnTo>
                  <a:lnTo>
                    <a:pt x="56260" y="493389"/>
                  </a:lnTo>
                  <a:cubicBezTo>
                    <a:pt x="79778" y="527257"/>
                    <a:pt x="109755" y="556144"/>
                    <a:pt x="144469" y="578393"/>
                  </a:cubicBezTo>
                  <a:lnTo>
                    <a:pt x="157736" y="586810"/>
                  </a:lnTo>
                  <a:lnTo>
                    <a:pt x="191855" y="533570"/>
                  </a:lnTo>
                  <a:cubicBezTo>
                    <a:pt x="211447" y="544474"/>
                    <a:pt x="232419" y="552689"/>
                    <a:pt x="254206" y="557990"/>
                  </a:cubicBezTo>
                  <a:lnTo>
                    <a:pt x="243052" y="620254"/>
                  </a:lnTo>
                  <a:lnTo>
                    <a:pt x="258518" y="623025"/>
                  </a:lnTo>
                  <a:cubicBezTo>
                    <a:pt x="276912" y="626335"/>
                    <a:pt x="295563" y="628003"/>
                    <a:pt x="314252" y="628013"/>
                  </a:cubicBezTo>
                  <a:cubicBezTo>
                    <a:pt x="336699" y="628008"/>
                    <a:pt x="359079" y="625575"/>
                    <a:pt x="381002" y="620756"/>
                  </a:cubicBezTo>
                  <a:lnTo>
                    <a:pt x="396312" y="617293"/>
                  </a:lnTo>
                  <a:lnTo>
                    <a:pt x="382803" y="555531"/>
                  </a:lnTo>
                  <a:cubicBezTo>
                    <a:pt x="404434" y="549426"/>
                    <a:pt x="425139" y="540425"/>
                    <a:pt x="444357" y="528772"/>
                  </a:cubicBezTo>
                  <a:lnTo>
                    <a:pt x="480503" y="580731"/>
                  </a:lnTo>
                  <a:lnTo>
                    <a:pt x="493389" y="571759"/>
                  </a:lnTo>
                  <a:cubicBezTo>
                    <a:pt x="527260" y="548246"/>
                    <a:pt x="556149" y="518268"/>
                    <a:pt x="578393" y="483551"/>
                  </a:cubicBezTo>
                  <a:lnTo>
                    <a:pt x="586810" y="470284"/>
                  </a:lnTo>
                  <a:lnTo>
                    <a:pt x="533570" y="436165"/>
                  </a:lnTo>
                  <a:cubicBezTo>
                    <a:pt x="544474" y="416573"/>
                    <a:pt x="552689" y="395601"/>
                    <a:pt x="557990" y="373814"/>
                  </a:cubicBezTo>
                  <a:lnTo>
                    <a:pt x="620254" y="384951"/>
                  </a:lnTo>
                  <a:lnTo>
                    <a:pt x="623025" y="369502"/>
                  </a:lnTo>
                  <a:cubicBezTo>
                    <a:pt x="630523" y="328151"/>
                    <a:pt x="629586" y="285712"/>
                    <a:pt x="620271" y="244732"/>
                  </a:cubicBezTo>
                  <a:close/>
                  <a:moveTo>
                    <a:pt x="594465" y="348303"/>
                  </a:moveTo>
                  <a:lnTo>
                    <a:pt x="533085" y="337305"/>
                  </a:lnTo>
                  <a:lnTo>
                    <a:pt x="530314" y="352771"/>
                  </a:lnTo>
                  <a:cubicBezTo>
                    <a:pt x="525298" y="381184"/>
                    <a:pt x="514702" y="408320"/>
                    <a:pt x="499139" y="432614"/>
                  </a:cubicBezTo>
                  <a:lnTo>
                    <a:pt x="490669" y="445812"/>
                  </a:lnTo>
                  <a:lnTo>
                    <a:pt x="543182" y="479481"/>
                  </a:lnTo>
                  <a:cubicBezTo>
                    <a:pt x="527633" y="501037"/>
                    <a:pt x="509108" y="520279"/>
                    <a:pt x="488158" y="536635"/>
                  </a:cubicBezTo>
                  <a:lnTo>
                    <a:pt x="452462" y="485473"/>
                  </a:lnTo>
                  <a:lnTo>
                    <a:pt x="439577" y="494445"/>
                  </a:lnTo>
                  <a:cubicBezTo>
                    <a:pt x="415901" y="510954"/>
                    <a:pt x="389198" y="522619"/>
                    <a:pt x="360998" y="528772"/>
                  </a:cubicBezTo>
                  <a:lnTo>
                    <a:pt x="345670" y="532132"/>
                  </a:lnTo>
                  <a:lnTo>
                    <a:pt x="359041" y="593028"/>
                  </a:lnTo>
                  <a:cubicBezTo>
                    <a:pt x="332819" y="597257"/>
                    <a:pt x="306128" y="597741"/>
                    <a:pt x="279769" y="594465"/>
                  </a:cubicBezTo>
                  <a:lnTo>
                    <a:pt x="290767" y="533085"/>
                  </a:lnTo>
                  <a:lnTo>
                    <a:pt x="275301" y="530314"/>
                  </a:lnTo>
                  <a:cubicBezTo>
                    <a:pt x="246888" y="525298"/>
                    <a:pt x="219752" y="514702"/>
                    <a:pt x="195458" y="499139"/>
                  </a:cubicBezTo>
                  <a:lnTo>
                    <a:pt x="182208" y="490669"/>
                  </a:lnTo>
                  <a:lnTo>
                    <a:pt x="148539" y="543182"/>
                  </a:lnTo>
                  <a:cubicBezTo>
                    <a:pt x="126983" y="527633"/>
                    <a:pt x="107741" y="509108"/>
                    <a:pt x="91385" y="488158"/>
                  </a:cubicBezTo>
                  <a:lnTo>
                    <a:pt x="142564" y="452532"/>
                  </a:lnTo>
                  <a:lnTo>
                    <a:pt x="133592" y="439646"/>
                  </a:lnTo>
                  <a:cubicBezTo>
                    <a:pt x="117069" y="415951"/>
                    <a:pt x="105397" y="389222"/>
                    <a:pt x="99248" y="360998"/>
                  </a:cubicBezTo>
                  <a:lnTo>
                    <a:pt x="95888" y="345670"/>
                  </a:lnTo>
                  <a:lnTo>
                    <a:pt x="34992" y="359041"/>
                  </a:lnTo>
                  <a:cubicBezTo>
                    <a:pt x="30763" y="332819"/>
                    <a:pt x="30279" y="306128"/>
                    <a:pt x="33555" y="279769"/>
                  </a:cubicBezTo>
                  <a:lnTo>
                    <a:pt x="94935" y="290767"/>
                  </a:lnTo>
                  <a:lnTo>
                    <a:pt x="97706" y="275301"/>
                  </a:lnTo>
                  <a:cubicBezTo>
                    <a:pt x="102718" y="246888"/>
                    <a:pt x="113315" y="219750"/>
                    <a:pt x="128881" y="195458"/>
                  </a:cubicBezTo>
                  <a:lnTo>
                    <a:pt x="137351" y="182208"/>
                  </a:lnTo>
                  <a:lnTo>
                    <a:pt x="84907" y="148539"/>
                  </a:lnTo>
                  <a:cubicBezTo>
                    <a:pt x="100453" y="127006"/>
                    <a:pt x="118980" y="107791"/>
                    <a:pt x="139931" y="91471"/>
                  </a:cubicBezTo>
                  <a:lnTo>
                    <a:pt x="175558" y="142633"/>
                  </a:lnTo>
                  <a:lnTo>
                    <a:pt x="188443" y="133662"/>
                  </a:lnTo>
                  <a:cubicBezTo>
                    <a:pt x="212112" y="117123"/>
                    <a:pt x="238817" y="105427"/>
                    <a:pt x="267022" y="99248"/>
                  </a:cubicBezTo>
                  <a:lnTo>
                    <a:pt x="282350" y="95888"/>
                  </a:lnTo>
                  <a:lnTo>
                    <a:pt x="268979" y="34992"/>
                  </a:lnTo>
                  <a:cubicBezTo>
                    <a:pt x="295201" y="30763"/>
                    <a:pt x="321892" y="30279"/>
                    <a:pt x="348251" y="33555"/>
                  </a:cubicBezTo>
                  <a:lnTo>
                    <a:pt x="337253" y="94935"/>
                  </a:lnTo>
                  <a:lnTo>
                    <a:pt x="352719" y="97706"/>
                  </a:lnTo>
                  <a:cubicBezTo>
                    <a:pt x="381132" y="102718"/>
                    <a:pt x="408270" y="113315"/>
                    <a:pt x="432562" y="128881"/>
                  </a:cubicBezTo>
                  <a:lnTo>
                    <a:pt x="445812" y="137351"/>
                  </a:lnTo>
                  <a:lnTo>
                    <a:pt x="479481" y="84838"/>
                  </a:lnTo>
                  <a:cubicBezTo>
                    <a:pt x="501009" y="100388"/>
                    <a:pt x="520223" y="118914"/>
                    <a:pt x="536549" y="139862"/>
                  </a:cubicBezTo>
                  <a:lnTo>
                    <a:pt x="485473" y="175558"/>
                  </a:lnTo>
                  <a:lnTo>
                    <a:pt x="494445" y="188443"/>
                  </a:lnTo>
                  <a:cubicBezTo>
                    <a:pt x="510954" y="212119"/>
                    <a:pt x="522619" y="238822"/>
                    <a:pt x="528772" y="267022"/>
                  </a:cubicBezTo>
                  <a:lnTo>
                    <a:pt x="532236" y="282869"/>
                  </a:lnTo>
                  <a:lnTo>
                    <a:pt x="592855" y="267472"/>
                  </a:lnTo>
                  <a:cubicBezTo>
                    <a:pt x="597295" y="294191"/>
                    <a:pt x="597839" y="321412"/>
                    <a:pt x="594465" y="348285"/>
                  </a:cubicBez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2" name="Полилиния: фигура 23">
              <a:extLst>
                <a:ext uri="{FF2B5EF4-FFF2-40B4-BE49-F238E27FC236}">
                  <a16:creationId xmlns:a16="http://schemas.microsoft.com/office/drawing/2014/main" id="{36A4C58E-C679-47E0-BF0E-99FBEBABB3AC}"/>
                </a:ext>
              </a:extLst>
            </p:cNvPr>
            <p:cNvSpPr/>
            <p:nvPr/>
          </p:nvSpPr>
          <p:spPr>
            <a:xfrm>
              <a:off x="5121050" y="2285278"/>
              <a:ext cx="190237" cy="122830"/>
            </a:xfrm>
            <a:custGeom>
              <a:avLst/>
              <a:gdLst>
                <a:gd name="connsiteX0" fmla="*/ 116890 w 190237"/>
                <a:gd name="connsiteY0" fmla="*/ 31400 h 122830"/>
                <a:gd name="connsiteX1" fmla="*/ 136357 w 190237"/>
                <a:gd name="connsiteY1" fmla="*/ 31400 h 122830"/>
                <a:gd name="connsiteX2" fmla="*/ 96106 w 190237"/>
                <a:gd name="connsiteY2" fmla="*/ 70958 h 122830"/>
                <a:gd name="connsiteX3" fmla="*/ 62333 w 190237"/>
                <a:gd name="connsiteY3" fmla="*/ 37549 h 122830"/>
                <a:gd name="connsiteX4" fmla="*/ 0 w 190237"/>
                <a:gd name="connsiteY4" fmla="*/ 100782 h 122830"/>
                <a:gd name="connsiteX5" fmla="*/ 22360 w 190237"/>
                <a:gd name="connsiteY5" fmla="*/ 122830 h 122830"/>
                <a:gd name="connsiteX6" fmla="*/ 62610 w 190237"/>
                <a:gd name="connsiteY6" fmla="*/ 81991 h 122830"/>
                <a:gd name="connsiteX7" fmla="*/ 96037 w 190237"/>
                <a:gd name="connsiteY7" fmla="*/ 115071 h 122830"/>
                <a:gd name="connsiteX8" fmla="*/ 158838 w 190237"/>
                <a:gd name="connsiteY8" fmla="*/ 53344 h 122830"/>
                <a:gd name="connsiteX9" fmla="*/ 158838 w 190237"/>
                <a:gd name="connsiteY9" fmla="*/ 73366 h 122830"/>
                <a:gd name="connsiteX10" fmla="*/ 190238 w 190237"/>
                <a:gd name="connsiteY10" fmla="*/ 73366 h 122830"/>
                <a:gd name="connsiteX11" fmla="*/ 190238 w 190237"/>
                <a:gd name="connsiteY11" fmla="*/ 0 h 122830"/>
                <a:gd name="connsiteX12" fmla="*/ 116890 w 190237"/>
                <a:gd name="connsiteY12" fmla="*/ 0 h 122830"/>
                <a:gd name="connsiteX13" fmla="*/ 116890 w 190237"/>
                <a:gd name="connsiteY13" fmla="*/ 31400 h 122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0237" h="122830">
                  <a:moveTo>
                    <a:pt x="116890" y="31400"/>
                  </a:moveTo>
                  <a:lnTo>
                    <a:pt x="136357" y="31400"/>
                  </a:lnTo>
                  <a:lnTo>
                    <a:pt x="96106" y="70958"/>
                  </a:lnTo>
                  <a:lnTo>
                    <a:pt x="62333" y="37549"/>
                  </a:lnTo>
                  <a:lnTo>
                    <a:pt x="0" y="100782"/>
                  </a:lnTo>
                  <a:lnTo>
                    <a:pt x="22360" y="122830"/>
                  </a:lnTo>
                  <a:lnTo>
                    <a:pt x="62610" y="81991"/>
                  </a:lnTo>
                  <a:lnTo>
                    <a:pt x="96037" y="115071"/>
                  </a:lnTo>
                  <a:lnTo>
                    <a:pt x="158838" y="53344"/>
                  </a:lnTo>
                  <a:lnTo>
                    <a:pt x="158838" y="73366"/>
                  </a:lnTo>
                  <a:lnTo>
                    <a:pt x="190238" y="73366"/>
                  </a:lnTo>
                  <a:lnTo>
                    <a:pt x="190238" y="0"/>
                  </a:lnTo>
                  <a:lnTo>
                    <a:pt x="116890" y="0"/>
                  </a:lnTo>
                  <a:lnTo>
                    <a:pt x="116890" y="31400"/>
                  </a:ln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3" name="Полилиния: фигура 24">
              <a:extLst>
                <a:ext uri="{FF2B5EF4-FFF2-40B4-BE49-F238E27FC236}">
                  <a16:creationId xmlns:a16="http://schemas.microsoft.com/office/drawing/2014/main" id="{36FE0C9C-FCC4-4335-BAF4-AC89E42D6253}"/>
                </a:ext>
              </a:extLst>
            </p:cNvPr>
            <p:cNvSpPr/>
            <p:nvPr/>
          </p:nvSpPr>
          <p:spPr>
            <a:xfrm>
              <a:off x="5041813" y="2176130"/>
              <a:ext cx="345109" cy="345812"/>
            </a:xfrm>
            <a:custGeom>
              <a:avLst/>
              <a:gdLst>
                <a:gd name="connsiteX0" fmla="*/ 172191 w 345109"/>
                <a:gd name="connsiteY0" fmla="*/ 0 h 345812"/>
                <a:gd name="connsiteX1" fmla="*/ 0 w 345109"/>
                <a:gd name="connsiteY1" fmla="*/ 157313 h 345812"/>
                <a:gd name="connsiteX2" fmla="*/ 31574 w 345109"/>
                <a:gd name="connsiteY2" fmla="*/ 157313 h 345812"/>
                <a:gd name="connsiteX3" fmla="*/ 187801 w 345109"/>
                <a:gd name="connsiteY3" fmla="*/ 32261 h 345812"/>
                <a:gd name="connsiteX4" fmla="*/ 312853 w 345109"/>
                <a:gd name="connsiteY4" fmla="*/ 188489 h 345812"/>
                <a:gd name="connsiteX5" fmla="*/ 156626 w 345109"/>
                <a:gd name="connsiteY5" fmla="*/ 313541 h 345812"/>
                <a:gd name="connsiteX6" fmla="*/ 31574 w 345109"/>
                <a:gd name="connsiteY6" fmla="*/ 188489 h 345812"/>
                <a:gd name="connsiteX7" fmla="*/ 0 w 345109"/>
                <a:gd name="connsiteY7" fmla="*/ 188489 h 345812"/>
                <a:gd name="connsiteX8" fmla="*/ 187784 w 345109"/>
                <a:gd name="connsiteY8" fmla="*/ 345097 h 345812"/>
                <a:gd name="connsiteX9" fmla="*/ 344394 w 345109"/>
                <a:gd name="connsiteY9" fmla="*/ 157313 h 345812"/>
                <a:gd name="connsiteX10" fmla="*/ 172191 w 345109"/>
                <a:gd name="connsiteY10" fmla="*/ 0 h 345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5109" h="345812">
                  <a:moveTo>
                    <a:pt x="172191" y="0"/>
                  </a:moveTo>
                  <a:cubicBezTo>
                    <a:pt x="82796" y="142"/>
                    <a:pt x="8197" y="68296"/>
                    <a:pt x="0" y="157313"/>
                  </a:cubicBezTo>
                  <a:lnTo>
                    <a:pt x="31574" y="157313"/>
                  </a:lnTo>
                  <a:cubicBezTo>
                    <a:pt x="40183" y="79640"/>
                    <a:pt x="110128" y="23653"/>
                    <a:pt x="187801" y="32261"/>
                  </a:cubicBezTo>
                  <a:cubicBezTo>
                    <a:pt x="265474" y="40871"/>
                    <a:pt x="321461" y="110816"/>
                    <a:pt x="312853" y="188489"/>
                  </a:cubicBezTo>
                  <a:cubicBezTo>
                    <a:pt x="304244" y="266162"/>
                    <a:pt x="234299" y="322149"/>
                    <a:pt x="156626" y="313541"/>
                  </a:cubicBezTo>
                  <a:cubicBezTo>
                    <a:pt x="90818" y="306248"/>
                    <a:pt x="38867" y="254296"/>
                    <a:pt x="31574" y="188489"/>
                  </a:cubicBezTo>
                  <a:lnTo>
                    <a:pt x="0" y="188489"/>
                  </a:lnTo>
                  <a:cubicBezTo>
                    <a:pt x="8610" y="283590"/>
                    <a:pt x="92682" y="353707"/>
                    <a:pt x="187784" y="345097"/>
                  </a:cubicBezTo>
                  <a:cubicBezTo>
                    <a:pt x="282887" y="336489"/>
                    <a:pt x="353004" y="252415"/>
                    <a:pt x="344394" y="157313"/>
                  </a:cubicBezTo>
                  <a:cubicBezTo>
                    <a:pt x="336330" y="68225"/>
                    <a:pt x="261643" y="-3"/>
                    <a:pt x="172191" y="0"/>
                  </a:cubicBez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174" name="Graphic 76">
            <a:extLst>
              <a:ext uri="{FF2B5EF4-FFF2-40B4-BE49-F238E27FC236}">
                <a16:creationId xmlns:a16="http://schemas.microsoft.com/office/drawing/2014/main" id="{05D20FAE-7C9F-416C-A5F7-44C84FE51BCC}"/>
              </a:ext>
            </a:extLst>
          </p:cNvPr>
          <p:cNvGrpSpPr/>
          <p:nvPr/>
        </p:nvGrpSpPr>
        <p:grpSpPr>
          <a:xfrm>
            <a:off x="4367731" y="1304764"/>
            <a:ext cx="540000" cy="540000"/>
            <a:chOff x="1309089" y="1086681"/>
            <a:chExt cx="763200" cy="763200"/>
          </a:xfrm>
        </p:grpSpPr>
        <p:sp>
          <p:nvSpPr>
            <p:cNvPr id="175" name="Полилиния: фигура 39">
              <a:extLst>
                <a:ext uri="{FF2B5EF4-FFF2-40B4-BE49-F238E27FC236}">
                  <a16:creationId xmlns:a16="http://schemas.microsoft.com/office/drawing/2014/main" id="{EFD3C2D9-EF37-4773-84F8-0CA8ABFB1567}"/>
                </a:ext>
              </a:extLst>
            </p:cNvPr>
            <p:cNvSpPr/>
            <p:nvPr/>
          </p:nvSpPr>
          <p:spPr>
            <a:xfrm>
              <a:off x="1470696" y="1201140"/>
              <a:ext cx="440141" cy="220012"/>
            </a:xfrm>
            <a:custGeom>
              <a:avLst/>
              <a:gdLst>
                <a:gd name="connsiteX0" fmla="*/ 49244 w 440141"/>
                <a:gd name="connsiteY0" fmla="*/ 173475 h 220012"/>
                <a:gd name="connsiteX1" fmla="*/ 6244 w 440141"/>
                <a:gd name="connsiteY1" fmla="*/ 165773 h 220012"/>
                <a:gd name="connsiteX2" fmla="*/ 3469 w 440141"/>
                <a:gd name="connsiteY2" fmla="*/ 181263 h 220012"/>
                <a:gd name="connsiteX3" fmla="*/ 0 w 440141"/>
                <a:gd name="connsiteY3" fmla="*/ 220012 h 220012"/>
                <a:gd name="connsiteX4" fmla="*/ 31447 w 440141"/>
                <a:gd name="connsiteY4" fmla="*/ 220012 h 220012"/>
                <a:gd name="connsiteX5" fmla="*/ 32297 w 440141"/>
                <a:gd name="connsiteY5" fmla="*/ 202355 h 220012"/>
                <a:gd name="connsiteX6" fmla="*/ 73926 w 440141"/>
                <a:gd name="connsiteY6" fmla="*/ 209831 h 220012"/>
                <a:gd name="connsiteX7" fmla="*/ 76684 w 440141"/>
                <a:gd name="connsiteY7" fmla="*/ 194341 h 220012"/>
                <a:gd name="connsiteX8" fmla="*/ 97377 w 440141"/>
                <a:gd name="connsiteY8" fmla="*/ 141455 h 220012"/>
                <a:gd name="connsiteX9" fmla="*/ 105877 w 440141"/>
                <a:gd name="connsiteY9" fmla="*/ 128220 h 220012"/>
                <a:gd name="connsiteX10" fmla="*/ 70197 w 440141"/>
                <a:gd name="connsiteY10" fmla="*/ 105359 h 220012"/>
                <a:gd name="connsiteX11" fmla="*/ 99684 w 440141"/>
                <a:gd name="connsiteY11" fmla="*/ 74779 h 220012"/>
                <a:gd name="connsiteX12" fmla="*/ 123968 w 440141"/>
                <a:gd name="connsiteY12" fmla="*/ 109470 h 220012"/>
                <a:gd name="connsiteX13" fmla="*/ 136873 w 440141"/>
                <a:gd name="connsiteY13" fmla="*/ 100485 h 220012"/>
                <a:gd name="connsiteX14" fmla="*/ 188909 w 440141"/>
                <a:gd name="connsiteY14" fmla="*/ 77710 h 220012"/>
                <a:gd name="connsiteX15" fmla="*/ 204260 w 440141"/>
                <a:gd name="connsiteY15" fmla="*/ 74345 h 220012"/>
                <a:gd name="connsiteX16" fmla="*/ 195206 w 440141"/>
                <a:gd name="connsiteY16" fmla="*/ 32976 h 220012"/>
                <a:gd name="connsiteX17" fmla="*/ 237685 w 440141"/>
                <a:gd name="connsiteY17" fmla="*/ 32213 h 220012"/>
                <a:gd name="connsiteX18" fmla="*/ 230209 w 440141"/>
                <a:gd name="connsiteY18" fmla="*/ 73842 h 220012"/>
                <a:gd name="connsiteX19" fmla="*/ 245698 w 440141"/>
                <a:gd name="connsiteY19" fmla="*/ 76600 h 220012"/>
                <a:gd name="connsiteX20" fmla="*/ 298585 w 440141"/>
                <a:gd name="connsiteY20" fmla="*/ 97311 h 220012"/>
                <a:gd name="connsiteX21" fmla="*/ 311819 w 440141"/>
                <a:gd name="connsiteY21" fmla="*/ 105793 h 220012"/>
                <a:gd name="connsiteX22" fmla="*/ 334681 w 440141"/>
                <a:gd name="connsiteY22" fmla="*/ 70113 h 220012"/>
                <a:gd name="connsiteX23" fmla="*/ 365261 w 440141"/>
                <a:gd name="connsiteY23" fmla="*/ 99600 h 220012"/>
                <a:gd name="connsiteX24" fmla="*/ 330570 w 440141"/>
                <a:gd name="connsiteY24" fmla="*/ 123884 h 220012"/>
                <a:gd name="connsiteX25" fmla="*/ 339555 w 440141"/>
                <a:gd name="connsiteY25" fmla="*/ 136789 h 220012"/>
                <a:gd name="connsiteX26" fmla="*/ 362329 w 440141"/>
                <a:gd name="connsiteY26" fmla="*/ 188825 h 220012"/>
                <a:gd name="connsiteX27" fmla="*/ 365798 w 440141"/>
                <a:gd name="connsiteY27" fmla="*/ 204696 h 220012"/>
                <a:gd name="connsiteX28" fmla="*/ 406959 w 440141"/>
                <a:gd name="connsiteY28" fmla="*/ 194289 h 220012"/>
                <a:gd name="connsiteX29" fmla="*/ 408694 w 440141"/>
                <a:gd name="connsiteY29" fmla="*/ 219978 h 220012"/>
                <a:gd name="connsiteX30" fmla="*/ 440141 w 440141"/>
                <a:gd name="connsiteY30" fmla="*/ 219978 h 220012"/>
                <a:gd name="connsiteX31" fmla="*/ 434729 w 440141"/>
                <a:gd name="connsiteY31" fmla="*/ 171411 h 220012"/>
                <a:gd name="connsiteX32" fmla="*/ 431173 w 440141"/>
                <a:gd name="connsiteY32" fmla="*/ 155678 h 220012"/>
                <a:gd name="connsiteX33" fmla="*/ 388850 w 440141"/>
                <a:gd name="connsiteY33" fmla="*/ 166432 h 220012"/>
                <a:gd name="connsiteX34" fmla="*/ 373777 w 440141"/>
                <a:gd name="connsiteY34" fmla="*/ 132140 h 220012"/>
                <a:gd name="connsiteX35" fmla="*/ 409648 w 440141"/>
                <a:gd name="connsiteY35" fmla="*/ 107180 h 220012"/>
                <a:gd name="connsiteX36" fmla="*/ 400663 w 440141"/>
                <a:gd name="connsiteY36" fmla="*/ 94275 h 220012"/>
                <a:gd name="connsiteX37" fmla="*/ 338774 w 440141"/>
                <a:gd name="connsiteY37" fmla="*/ 34711 h 220012"/>
                <a:gd name="connsiteX38" fmla="*/ 325505 w 440141"/>
                <a:gd name="connsiteY38" fmla="*/ 26264 h 220012"/>
                <a:gd name="connsiteX39" fmla="*/ 301932 w 440141"/>
                <a:gd name="connsiteY39" fmla="*/ 63036 h 220012"/>
                <a:gd name="connsiteX40" fmla="*/ 266582 w 440141"/>
                <a:gd name="connsiteY40" fmla="*/ 49160 h 220012"/>
                <a:gd name="connsiteX41" fmla="*/ 274284 w 440141"/>
                <a:gd name="connsiteY41" fmla="*/ 6143 h 220012"/>
                <a:gd name="connsiteX42" fmla="*/ 258812 w 440141"/>
                <a:gd name="connsiteY42" fmla="*/ 3489 h 220012"/>
                <a:gd name="connsiteX43" fmla="*/ 172969 w 440141"/>
                <a:gd name="connsiteY43" fmla="*/ 5085 h 220012"/>
                <a:gd name="connsiteX44" fmla="*/ 157757 w 440141"/>
                <a:gd name="connsiteY44" fmla="*/ 8433 h 220012"/>
                <a:gd name="connsiteX45" fmla="*/ 161018 w 440141"/>
                <a:gd name="connsiteY45" fmla="*/ 23610 h 220012"/>
                <a:gd name="connsiteX46" fmla="*/ 167037 w 440141"/>
                <a:gd name="connsiteY46" fmla="*/ 51085 h 220012"/>
                <a:gd name="connsiteX47" fmla="*/ 132259 w 440141"/>
                <a:gd name="connsiteY47" fmla="*/ 66297 h 220012"/>
                <a:gd name="connsiteX48" fmla="*/ 107247 w 440141"/>
                <a:gd name="connsiteY48" fmla="*/ 30444 h 220012"/>
                <a:gd name="connsiteX49" fmla="*/ 94342 w 440141"/>
                <a:gd name="connsiteY49" fmla="*/ 39429 h 220012"/>
                <a:gd name="connsiteX50" fmla="*/ 34778 w 440141"/>
                <a:gd name="connsiteY50" fmla="*/ 101248 h 220012"/>
                <a:gd name="connsiteX51" fmla="*/ 26313 w 440141"/>
                <a:gd name="connsiteY51" fmla="*/ 114500 h 220012"/>
                <a:gd name="connsiteX52" fmla="*/ 63085 w 440141"/>
                <a:gd name="connsiteY52" fmla="*/ 138055 h 220012"/>
                <a:gd name="connsiteX53" fmla="*/ 49244 w 440141"/>
                <a:gd name="connsiteY53" fmla="*/ 173475 h 22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40141" h="220012">
                  <a:moveTo>
                    <a:pt x="49244" y="173475"/>
                  </a:moveTo>
                  <a:lnTo>
                    <a:pt x="6244" y="165773"/>
                  </a:lnTo>
                  <a:lnTo>
                    <a:pt x="3469" y="181263"/>
                  </a:lnTo>
                  <a:cubicBezTo>
                    <a:pt x="1182" y="194053"/>
                    <a:pt x="21" y="207019"/>
                    <a:pt x="0" y="220012"/>
                  </a:cubicBezTo>
                  <a:lnTo>
                    <a:pt x="31447" y="220012"/>
                  </a:lnTo>
                  <a:cubicBezTo>
                    <a:pt x="31447" y="214150"/>
                    <a:pt x="31742" y="208235"/>
                    <a:pt x="32297" y="202355"/>
                  </a:cubicBezTo>
                  <a:lnTo>
                    <a:pt x="73926" y="209831"/>
                  </a:lnTo>
                  <a:lnTo>
                    <a:pt x="76684" y="194341"/>
                  </a:lnTo>
                  <a:cubicBezTo>
                    <a:pt x="80028" y="175521"/>
                    <a:pt x="87060" y="157546"/>
                    <a:pt x="97377" y="141455"/>
                  </a:cubicBezTo>
                  <a:lnTo>
                    <a:pt x="105877" y="128220"/>
                  </a:lnTo>
                  <a:lnTo>
                    <a:pt x="70197" y="105359"/>
                  </a:lnTo>
                  <a:cubicBezTo>
                    <a:pt x="78833" y="94079"/>
                    <a:pt x="88725" y="83819"/>
                    <a:pt x="99684" y="74779"/>
                  </a:cubicBezTo>
                  <a:lnTo>
                    <a:pt x="123968" y="109470"/>
                  </a:lnTo>
                  <a:lnTo>
                    <a:pt x="136873" y="100485"/>
                  </a:lnTo>
                  <a:cubicBezTo>
                    <a:pt x="152546" y="89536"/>
                    <a:pt x="170232" y="81797"/>
                    <a:pt x="188909" y="77710"/>
                  </a:cubicBezTo>
                  <a:lnTo>
                    <a:pt x="204260" y="74345"/>
                  </a:lnTo>
                  <a:lnTo>
                    <a:pt x="195206" y="32976"/>
                  </a:lnTo>
                  <a:cubicBezTo>
                    <a:pt x="209290" y="31100"/>
                    <a:pt x="223543" y="30844"/>
                    <a:pt x="237685" y="32213"/>
                  </a:cubicBezTo>
                  <a:lnTo>
                    <a:pt x="230209" y="73842"/>
                  </a:lnTo>
                  <a:lnTo>
                    <a:pt x="245698" y="76600"/>
                  </a:lnTo>
                  <a:cubicBezTo>
                    <a:pt x="264522" y="79943"/>
                    <a:pt x="282497" y="86982"/>
                    <a:pt x="298585" y="97311"/>
                  </a:cubicBezTo>
                  <a:lnTo>
                    <a:pt x="311819" y="105793"/>
                  </a:lnTo>
                  <a:lnTo>
                    <a:pt x="334681" y="70113"/>
                  </a:lnTo>
                  <a:cubicBezTo>
                    <a:pt x="345957" y="78753"/>
                    <a:pt x="356215" y="88647"/>
                    <a:pt x="365261" y="99600"/>
                  </a:cubicBezTo>
                  <a:lnTo>
                    <a:pt x="330570" y="123884"/>
                  </a:lnTo>
                  <a:lnTo>
                    <a:pt x="339555" y="136789"/>
                  </a:lnTo>
                  <a:cubicBezTo>
                    <a:pt x="350503" y="152462"/>
                    <a:pt x="358243" y="170148"/>
                    <a:pt x="362329" y="188825"/>
                  </a:cubicBezTo>
                  <a:lnTo>
                    <a:pt x="365798" y="204696"/>
                  </a:lnTo>
                  <a:lnTo>
                    <a:pt x="406959" y="194289"/>
                  </a:lnTo>
                  <a:cubicBezTo>
                    <a:pt x="408126" y="202802"/>
                    <a:pt x="408706" y="211385"/>
                    <a:pt x="408694" y="219978"/>
                  </a:cubicBezTo>
                  <a:lnTo>
                    <a:pt x="440141" y="219978"/>
                  </a:lnTo>
                  <a:cubicBezTo>
                    <a:pt x="440155" y="203637"/>
                    <a:pt x="438339" y="187348"/>
                    <a:pt x="434729" y="171411"/>
                  </a:cubicBezTo>
                  <a:lnTo>
                    <a:pt x="431173" y="155678"/>
                  </a:lnTo>
                  <a:lnTo>
                    <a:pt x="388850" y="166432"/>
                  </a:lnTo>
                  <a:cubicBezTo>
                    <a:pt x="385057" y="154499"/>
                    <a:pt x="380004" y="143004"/>
                    <a:pt x="373777" y="132140"/>
                  </a:cubicBezTo>
                  <a:lnTo>
                    <a:pt x="409648" y="107180"/>
                  </a:lnTo>
                  <a:lnTo>
                    <a:pt x="400663" y="94275"/>
                  </a:lnTo>
                  <a:cubicBezTo>
                    <a:pt x="384162" y="70535"/>
                    <a:pt x="363129" y="50291"/>
                    <a:pt x="338774" y="34711"/>
                  </a:cubicBezTo>
                  <a:lnTo>
                    <a:pt x="325505" y="26264"/>
                  </a:lnTo>
                  <a:lnTo>
                    <a:pt x="301932" y="63036"/>
                  </a:lnTo>
                  <a:cubicBezTo>
                    <a:pt x="290689" y="57138"/>
                    <a:pt x="278835" y="52486"/>
                    <a:pt x="266582" y="49160"/>
                  </a:cubicBezTo>
                  <a:lnTo>
                    <a:pt x="274284" y="6143"/>
                  </a:lnTo>
                  <a:lnTo>
                    <a:pt x="258812" y="3489"/>
                  </a:lnTo>
                  <a:cubicBezTo>
                    <a:pt x="230372" y="-1650"/>
                    <a:pt x="201197" y="-1107"/>
                    <a:pt x="172969" y="5085"/>
                  </a:cubicBezTo>
                  <a:lnTo>
                    <a:pt x="157757" y="8433"/>
                  </a:lnTo>
                  <a:lnTo>
                    <a:pt x="161018" y="23610"/>
                  </a:lnTo>
                  <a:lnTo>
                    <a:pt x="167037" y="51085"/>
                  </a:lnTo>
                  <a:cubicBezTo>
                    <a:pt x="154931" y="54892"/>
                    <a:pt x="143272" y="59992"/>
                    <a:pt x="132259" y="66297"/>
                  </a:cubicBezTo>
                  <a:lnTo>
                    <a:pt x="107247" y="30444"/>
                  </a:lnTo>
                  <a:lnTo>
                    <a:pt x="94342" y="39429"/>
                  </a:lnTo>
                  <a:cubicBezTo>
                    <a:pt x="70608" y="55909"/>
                    <a:pt x="50366" y="76918"/>
                    <a:pt x="34778" y="101248"/>
                  </a:cubicBezTo>
                  <a:lnTo>
                    <a:pt x="26313" y="114500"/>
                  </a:lnTo>
                  <a:lnTo>
                    <a:pt x="63085" y="138055"/>
                  </a:lnTo>
                  <a:cubicBezTo>
                    <a:pt x="57209" y="149328"/>
                    <a:pt x="52567" y="161204"/>
                    <a:pt x="49244" y="173475"/>
                  </a:cubicBez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6" name="Полилиния: фигура 40">
              <a:extLst>
                <a:ext uri="{FF2B5EF4-FFF2-40B4-BE49-F238E27FC236}">
                  <a16:creationId xmlns:a16="http://schemas.microsoft.com/office/drawing/2014/main" id="{4DE904A3-BF15-4017-A616-902A5A2D22EF}"/>
                </a:ext>
              </a:extLst>
            </p:cNvPr>
            <p:cNvSpPr/>
            <p:nvPr/>
          </p:nvSpPr>
          <p:spPr>
            <a:xfrm>
              <a:off x="1578221" y="1310029"/>
              <a:ext cx="224953" cy="111089"/>
            </a:xfrm>
            <a:custGeom>
              <a:avLst/>
              <a:gdLst>
                <a:gd name="connsiteX0" fmla="*/ 112468 w 224953"/>
                <a:gd name="connsiteY0" fmla="*/ 30069 h 111089"/>
                <a:gd name="connsiteX1" fmla="*/ 193506 w 224953"/>
                <a:gd name="connsiteY1" fmla="*/ 111089 h 111089"/>
                <a:gd name="connsiteX2" fmla="*/ 224953 w 224953"/>
                <a:gd name="connsiteY2" fmla="*/ 111089 h 111089"/>
                <a:gd name="connsiteX3" fmla="*/ 111080 w 224953"/>
                <a:gd name="connsiteY3" fmla="*/ 9 h 111089"/>
                <a:gd name="connsiteX4" fmla="*/ 0 w 224953"/>
                <a:gd name="connsiteY4" fmla="*/ 111089 h 111089"/>
                <a:gd name="connsiteX5" fmla="*/ 31447 w 224953"/>
                <a:gd name="connsiteY5" fmla="*/ 111089 h 111089"/>
                <a:gd name="connsiteX6" fmla="*/ 112468 w 224953"/>
                <a:gd name="connsiteY6" fmla="*/ 30069 h 111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4953" h="111089">
                  <a:moveTo>
                    <a:pt x="112468" y="30069"/>
                  </a:moveTo>
                  <a:cubicBezTo>
                    <a:pt x="157197" y="30117"/>
                    <a:pt x="193449" y="66360"/>
                    <a:pt x="193506" y="111089"/>
                  </a:cubicBezTo>
                  <a:lnTo>
                    <a:pt x="224953" y="111089"/>
                  </a:lnTo>
                  <a:cubicBezTo>
                    <a:pt x="224181" y="48970"/>
                    <a:pt x="173200" y="-761"/>
                    <a:pt x="111080" y="9"/>
                  </a:cubicBezTo>
                  <a:cubicBezTo>
                    <a:pt x="50049" y="767"/>
                    <a:pt x="758" y="50057"/>
                    <a:pt x="0" y="111089"/>
                  </a:cubicBezTo>
                  <a:lnTo>
                    <a:pt x="31447" y="111089"/>
                  </a:lnTo>
                  <a:cubicBezTo>
                    <a:pt x="31505" y="66366"/>
                    <a:pt x="67744" y="30126"/>
                    <a:pt x="112468" y="30069"/>
                  </a:cubicBez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7" name="Полилиния: фигура 41">
              <a:extLst>
                <a:ext uri="{FF2B5EF4-FFF2-40B4-BE49-F238E27FC236}">
                  <a16:creationId xmlns:a16="http://schemas.microsoft.com/office/drawing/2014/main" id="{224C52DF-8C57-4258-98D6-55E8FC0A989D}"/>
                </a:ext>
              </a:extLst>
            </p:cNvPr>
            <p:cNvSpPr/>
            <p:nvPr/>
          </p:nvSpPr>
          <p:spPr>
            <a:xfrm>
              <a:off x="1423378" y="1248219"/>
              <a:ext cx="533927" cy="534448"/>
            </a:xfrm>
            <a:custGeom>
              <a:avLst/>
              <a:gdLst>
                <a:gd name="connsiteX0" fmla="*/ 533928 w 533927"/>
                <a:gd name="connsiteY0" fmla="*/ 424391 h 534448"/>
                <a:gd name="connsiteX1" fmla="*/ 533928 w 533927"/>
                <a:gd name="connsiteY1" fmla="*/ 0 h 534448"/>
                <a:gd name="connsiteX2" fmla="*/ 471675 w 533927"/>
                <a:gd name="connsiteY2" fmla="*/ 0 h 534448"/>
                <a:gd name="connsiteX3" fmla="*/ 471675 w 533927"/>
                <a:gd name="connsiteY3" fmla="*/ 31447 h 534448"/>
                <a:gd name="connsiteX4" fmla="*/ 502480 w 533927"/>
                <a:gd name="connsiteY4" fmla="*/ 31447 h 534448"/>
                <a:gd name="connsiteX5" fmla="*/ 502480 w 533927"/>
                <a:gd name="connsiteY5" fmla="*/ 392944 h 534448"/>
                <a:gd name="connsiteX6" fmla="*/ 31413 w 533927"/>
                <a:gd name="connsiteY6" fmla="*/ 392944 h 534448"/>
                <a:gd name="connsiteX7" fmla="*/ 31413 w 533927"/>
                <a:gd name="connsiteY7" fmla="*/ 31447 h 534448"/>
                <a:gd name="connsiteX8" fmla="*/ 63571 w 533927"/>
                <a:gd name="connsiteY8" fmla="*/ 31447 h 534448"/>
                <a:gd name="connsiteX9" fmla="*/ 63571 w 533927"/>
                <a:gd name="connsiteY9" fmla="*/ 0 h 534448"/>
                <a:gd name="connsiteX10" fmla="*/ 0 w 533927"/>
                <a:gd name="connsiteY10" fmla="*/ 0 h 534448"/>
                <a:gd name="connsiteX11" fmla="*/ 0 w 533927"/>
                <a:gd name="connsiteY11" fmla="*/ 424391 h 534448"/>
                <a:gd name="connsiteX12" fmla="*/ 189256 w 533927"/>
                <a:gd name="connsiteY12" fmla="*/ 424391 h 534448"/>
                <a:gd name="connsiteX13" fmla="*/ 189256 w 533927"/>
                <a:gd name="connsiteY13" fmla="*/ 503001 h 534448"/>
                <a:gd name="connsiteX14" fmla="*/ 135121 w 533927"/>
                <a:gd name="connsiteY14" fmla="*/ 503001 h 534448"/>
                <a:gd name="connsiteX15" fmla="*/ 135121 w 533927"/>
                <a:gd name="connsiteY15" fmla="*/ 534448 h 534448"/>
                <a:gd name="connsiteX16" fmla="*/ 399501 w 533927"/>
                <a:gd name="connsiteY16" fmla="*/ 534448 h 534448"/>
                <a:gd name="connsiteX17" fmla="*/ 399501 w 533927"/>
                <a:gd name="connsiteY17" fmla="*/ 503001 h 534448"/>
                <a:gd name="connsiteX18" fmla="*/ 344706 w 533927"/>
                <a:gd name="connsiteY18" fmla="*/ 503001 h 534448"/>
                <a:gd name="connsiteX19" fmla="*/ 344706 w 533927"/>
                <a:gd name="connsiteY19" fmla="*/ 424391 h 534448"/>
                <a:gd name="connsiteX20" fmla="*/ 313259 w 533927"/>
                <a:gd name="connsiteY20" fmla="*/ 503001 h 534448"/>
                <a:gd name="connsiteX21" fmla="*/ 220652 w 533927"/>
                <a:gd name="connsiteY21" fmla="*/ 503001 h 534448"/>
                <a:gd name="connsiteX22" fmla="*/ 220652 w 533927"/>
                <a:gd name="connsiteY22" fmla="*/ 424391 h 534448"/>
                <a:gd name="connsiteX23" fmla="*/ 313259 w 533927"/>
                <a:gd name="connsiteY23" fmla="*/ 424391 h 534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33927" h="534448">
                  <a:moveTo>
                    <a:pt x="533928" y="424391"/>
                  </a:moveTo>
                  <a:lnTo>
                    <a:pt x="533928" y="0"/>
                  </a:lnTo>
                  <a:lnTo>
                    <a:pt x="471675" y="0"/>
                  </a:lnTo>
                  <a:lnTo>
                    <a:pt x="471675" y="31447"/>
                  </a:lnTo>
                  <a:lnTo>
                    <a:pt x="502480" y="31447"/>
                  </a:lnTo>
                  <a:lnTo>
                    <a:pt x="502480" y="392944"/>
                  </a:lnTo>
                  <a:lnTo>
                    <a:pt x="31413" y="392944"/>
                  </a:lnTo>
                  <a:lnTo>
                    <a:pt x="31413" y="31447"/>
                  </a:lnTo>
                  <a:lnTo>
                    <a:pt x="63571" y="31447"/>
                  </a:lnTo>
                  <a:lnTo>
                    <a:pt x="63571" y="0"/>
                  </a:lnTo>
                  <a:lnTo>
                    <a:pt x="0" y="0"/>
                  </a:lnTo>
                  <a:lnTo>
                    <a:pt x="0" y="424391"/>
                  </a:lnTo>
                  <a:lnTo>
                    <a:pt x="189256" y="424391"/>
                  </a:lnTo>
                  <a:lnTo>
                    <a:pt x="189256" y="503001"/>
                  </a:lnTo>
                  <a:lnTo>
                    <a:pt x="135121" y="503001"/>
                  </a:lnTo>
                  <a:lnTo>
                    <a:pt x="135121" y="534448"/>
                  </a:lnTo>
                  <a:lnTo>
                    <a:pt x="399501" y="534448"/>
                  </a:lnTo>
                  <a:lnTo>
                    <a:pt x="399501" y="503001"/>
                  </a:lnTo>
                  <a:lnTo>
                    <a:pt x="344706" y="503001"/>
                  </a:lnTo>
                  <a:lnTo>
                    <a:pt x="344706" y="424391"/>
                  </a:lnTo>
                  <a:close/>
                  <a:moveTo>
                    <a:pt x="313259" y="503001"/>
                  </a:moveTo>
                  <a:lnTo>
                    <a:pt x="220652" y="503001"/>
                  </a:lnTo>
                  <a:lnTo>
                    <a:pt x="220652" y="424391"/>
                  </a:lnTo>
                  <a:lnTo>
                    <a:pt x="313259" y="424391"/>
                  </a:ln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8" name="Полилиния: фигура 42">
              <a:extLst>
                <a:ext uri="{FF2B5EF4-FFF2-40B4-BE49-F238E27FC236}">
                  <a16:creationId xmlns:a16="http://schemas.microsoft.com/office/drawing/2014/main" id="{F991B24C-F781-4A14-97F8-7FBB619F903A}"/>
                </a:ext>
              </a:extLst>
            </p:cNvPr>
            <p:cNvSpPr/>
            <p:nvPr/>
          </p:nvSpPr>
          <p:spPr>
            <a:xfrm>
              <a:off x="1486342" y="1499728"/>
              <a:ext cx="408710" cy="31447"/>
            </a:xfrm>
            <a:custGeom>
              <a:avLst/>
              <a:gdLst>
                <a:gd name="connsiteX0" fmla="*/ 0 w 408710"/>
                <a:gd name="connsiteY0" fmla="*/ 0 h 31447"/>
                <a:gd name="connsiteX1" fmla="*/ 408711 w 408710"/>
                <a:gd name="connsiteY1" fmla="*/ 0 h 31447"/>
                <a:gd name="connsiteX2" fmla="*/ 408711 w 408710"/>
                <a:gd name="connsiteY2" fmla="*/ 31447 h 31447"/>
                <a:gd name="connsiteX3" fmla="*/ 0 w 408710"/>
                <a:gd name="connsiteY3" fmla="*/ 31447 h 31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8710" h="31447">
                  <a:moveTo>
                    <a:pt x="0" y="0"/>
                  </a:moveTo>
                  <a:lnTo>
                    <a:pt x="408711" y="0"/>
                  </a:lnTo>
                  <a:lnTo>
                    <a:pt x="408711" y="31447"/>
                  </a:lnTo>
                  <a:lnTo>
                    <a:pt x="0" y="31447"/>
                  </a:lnTo>
                  <a:close/>
                </a:path>
              </a:pathLst>
            </a:custGeom>
            <a:solidFill>
              <a:srgbClr val="002F6C"/>
            </a:solidFill>
            <a:ln w="17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8" name="Прямоугольник 7"/>
          <p:cNvSpPr/>
          <p:nvPr/>
        </p:nvSpPr>
        <p:spPr>
          <a:xfrm>
            <a:off x="299356" y="3140968"/>
            <a:ext cx="2808000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lvl="0" indent="-179388" defTabSz="633047">
              <a:spcBef>
                <a:spcPts val="600"/>
              </a:spcBef>
              <a:buClr>
                <a:srgbClr val="C00000"/>
              </a:buClr>
              <a:buSzPct val="100000"/>
              <a:buFontTx/>
              <a:buChar char="•"/>
              <a:defRPr sz="1000"/>
            </a:pP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Выполнить работу могут несколько компетентных организаций (ЦНИИТС, МАДИ, МГСУ)</a:t>
            </a:r>
          </a:p>
          <a:p>
            <a:pPr marL="179388" lvl="0" indent="-179388" defTabSz="633047">
              <a:spcBef>
                <a:spcPts val="600"/>
              </a:spcBef>
              <a:buClr>
                <a:srgbClr val="C00000"/>
              </a:buClr>
              <a:buSzPct val="100000"/>
              <a:buFontTx/>
              <a:buChar char="•"/>
              <a:defRPr sz="1000"/>
            </a:pP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По согласованию с Минстрой России и Минтранс России компания Северсталь для испытаний выбрала МАДИ</a:t>
            </a:r>
          </a:p>
          <a:p>
            <a:pPr marL="179388" lvl="0" indent="-179388" defTabSz="633047">
              <a:spcBef>
                <a:spcPts val="600"/>
              </a:spcBef>
              <a:buClr>
                <a:srgbClr val="C00000"/>
              </a:buClr>
              <a:buSzPct val="100000"/>
              <a:buFontTx/>
              <a:buChar char="•"/>
              <a:defRPr sz="1000"/>
            </a:pP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В августе заключен договор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9480376" y="3140968"/>
            <a:ext cx="251996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lvl="0" indent="-179388" defTabSz="633044" fontAlgn="base">
              <a:spcBef>
                <a:spcPts val="600"/>
              </a:spcBef>
              <a:spcAft>
                <a:spcPct val="0"/>
              </a:spcAft>
              <a:buClr>
                <a:srgbClr val="C00000"/>
              </a:buClr>
              <a:buFont typeface="Arial" panose="020B0604020202020204" pitchFamily="34" charset="0"/>
              <a:buChar char="•"/>
              <a:defRPr sz="1000"/>
            </a:pPr>
            <a:r>
              <a:rPr lang="ru-RU" sz="1200" dirty="0" smtClean="0">
                <a:solidFill>
                  <a:srgbClr val="C00000"/>
                </a:solidFill>
                <a:latin typeface="Arial" charset="0"/>
              </a:rPr>
              <a:t>Апрель 2022</a:t>
            </a:r>
            <a:endParaRPr lang="ru-RU" sz="12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4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5360" y="368660"/>
            <a:ext cx="10379286" cy="559573"/>
          </a:xfrm>
        </p:spPr>
        <p:txBody>
          <a:bodyPr>
            <a:normAutofit fontScale="90000"/>
          </a:bodyPr>
          <a:lstStyle/>
          <a:p>
            <a:r>
              <a:rPr lang="ru-RU" sz="2700" dirty="0"/>
              <a:t>Реализация Программы комплексных испытаний</a:t>
            </a:r>
            <a:r>
              <a:rPr lang="ru-RU" dirty="0"/>
              <a:t> </a:t>
            </a:r>
            <a:br>
              <a:rPr lang="ru-RU" dirty="0"/>
            </a:br>
            <a:endParaRPr lang="ru-RU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3395700" y="3140968"/>
            <a:ext cx="2664296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lvl="0" indent="-179388" defTabSz="633047">
              <a:spcBef>
                <a:spcPts val="600"/>
              </a:spcBef>
              <a:buClr>
                <a:srgbClr val="C00000"/>
              </a:buClr>
              <a:buSzPct val="100000"/>
              <a:buFontTx/>
              <a:buChar char="•"/>
              <a:defRPr sz="1000"/>
            </a:pP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Производство проката для подготовки образцов</a:t>
            </a:r>
          </a:p>
          <a:p>
            <a:pPr marL="179388" lvl="0" indent="-179388" defTabSz="633047">
              <a:spcBef>
                <a:spcPts val="600"/>
              </a:spcBef>
              <a:buClr>
                <a:srgbClr val="C00000"/>
              </a:buClr>
              <a:buSzPct val="100000"/>
              <a:buFontTx/>
              <a:buChar char="•"/>
              <a:defRPr sz="1000"/>
            </a:pP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Подготовка образцов на СМЦ Колпино</a:t>
            </a:r>
          </a:p>
          <a:p>
            <a:pPr marL="179388" lvl="0" indent="-179388" defTabSz="633047">
              <a:spcBef>
                <a:spcPts val="600"/>
              </a:spcBef>
              <a:buClr>
                <a:srgbClr val="C00000"/>
              </a:buClr>
              <a:buSzPct val="100000"/>
              <a:buFontTx/>
              <a:buChar char="•"/>
              <a:defRPr sz="1000"/>
            </a:pP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Отправка образцов исполнителю в МАДИ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6023992" y="3104964"/>
            <a:ext cx="3168352" cy="35855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lvl="0" indent="-179388" defTabSz="633047">
              <a:spcBef>
                <a:spcPts val="600"/>
              </a:spcBef>
              <a:buClr>
                <a:srgbClr val="C00000"/>
              </a:buClr>
              <a:buSzPct val="100000"/>
              <a:buFontTx/>
              <a:buChar char="•"/>
              <a:defRPr sz="1000"/>
            </a:pPr>
            <a:r>
              <a:rPr lang="ru-RU" sz="1200" dirty="0">
                <a:solidFill>
                  <a:srgbClr val="000000"/>
                </a:solidFill>
                <a:latin typeface="Arial"/>
              </a:rPr>
              <a:t>Отбор проб и испытания механических и технологических </a:t>
            </a: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свойств</a:t>
            </a:r>
          </a:p>
          <a:p>
            <a:pPr marL="179388" lvl="0" indent="-179388" defTabSz="633047">
              <a:spcBef>
                <a:spcPts val="600"/>
              </a:spcBef>
              <a:buClr>
                <a:srgbClr val="C00000"/>
              </a:buClr>
              <a:buSzPct val="100000"/>
              <a:buFontTx/>
              <a:buChar char="•"/>
              <a:defRPr sz="1000"/>
            </a:pPr>
            <a:r>
              <a:rPr lang="ru-RU" sz="1200" dirty="0">
                <a:solidFill>
                  <a:srgbClr val="000000"/>
                </a:solidFill>
                <a:latin typeface="Arial"/>
              </a:rPr>
              <a:t>Химический анализ </a:t>
            </a: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стали</a:t>
            </a:r>
          </a:p>
          <a:p>
            <a:pPr marL="179388" lvl="0" indent="-179388" defTabSz="633047">
              <a:spcBef>
                <a:spcPts val="600"/>
              </a:spcBef>
              <a:buClr>
                <a:srgbClr val="C00000"/>
              </a:buClr>
              <a:buSzPct val="100000"/>
              <a:buFontTx/>
              <a:buChar char="•"/>
              <a:defRPr sz="1000"/>
            </a:pPr>
            <a:r>
              <a:rPr lang="ru-RU" sz="1200" dirty="0">
                <a:solidFill>
                  <a:srgbClr val="000000"/>
                </a:solidFill>
                <a:latin typeface="Arial"/>
              </a:rPr>
              <a:t>Комплексное исследование фрикционных, фрикционно- срезных и фланцевых соединений. Определение параметров болтовых </a:t>
            </a: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соединений</a:t>
            </a:r>
          </a:p>
          <a:p>
            <a:pPr marL="179388" lvl="0" indent="-179388" defTabSz="633047">
              <a:spcBef>
                <a:spcPts val="600"/>
              </a:spcBef>
              <a:buClr>
                <a:srgbClr val="C00000"/>
              </a:buClr>
              <a:buSzPct val="100000"/>
              <a:buFontTx/>
              <a:buChar char="•"/>
              <a:defRPr sz="1000"/>
            </a:pPr>
            <a:r>
              <a:rPr lang="ru-RU" sz="1200" dirty="0">
                <a:solidFill>
                  <a:srgbClr val="000000"/>
                </a:solidFill>
                <a:latin typeface="Arial"/>
              </a:rPr>
              <a:t>Исследование </a:t>
            </a: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микроструктуры. Исследование твердости</a:t>
            </a:r>
          </a:p>
          <a:p>
            <a:pPr marL="179388" lvl="0" indent="-179388" defTabSz="633047">
              <a:spcBef>
                <a:spcPts val="600"/>
              </a:spcBef>
              <a:buClr>
                <a:srgbClr val="C00000"/>
              </a:buClr>
              <a:buSzPct val="100000"/>
              <a:buFontTx/>
              <a:buChar char="•"/>
              <a:defRPr sz="1000"/>
            </a:pPr>
            <a:r>
              <a:rPr lang="ru-RU" sz="1200" dirty="0">
                <a:solidFill>
                  <a:srgbClr val="FF0000"/>
                </a:solidFill>
                <a:latin typeface="Arial"/>
              </a:rPr>
              <a:t>Комплексное исследование сварных </a:t>
            </a:r>
            <a:r>
              <a:rPr lang="ru-RU" sz="1200" dirty="0" smtClean="0">
                <a:solidFill>
                  <a:srgbClr val="FF0000"/>
                </a:solidFill>
                <a:latin typeface="Arial"/>
              </a:rPr>
              <a:t>соединений</a:t>
            </a:r>
          </a:p>
          <a:p>
            <a:pPr marL="179388" lvl="0" indent="-179388" defTabSz="633047">
              <a:spcBef>
                <a:spcPts val="600"/>
              </a:spcBef>
              <a:buClr>
                <a:srgbClr val="C00000"/>
              </a:buClr>
              <a:buSzPct val="100000"/>
              <a:buFontTx/>
              <a:buChar char="•"/>
              <a:defRPr sz="1000"/>
            </a:pPr>
            <a:r>
              <a:rPr lang="ru-RU" sz="1200" dirty="0" smtClean="0">
                <a:solidFill>
                  <a:srgbClr val="FF0000"/>
                </a:solidFill>
                <a:latin typeface="Arial"/>
              </a:rPr>
              <a:t>Испытания на выносливость.</a:t>
            </a:r>
          </a:p>
          <a:p>
            <a:pPr marL="179388" lvl="0" indent="-179388" defTabSz="633047">
              <a:spcBef>
                <a:spcPts val="600"/>
              </a:spcBef>
              <a:buClr>
                <a:srgbClr val="C00000"/>
              </a:buClr>
              <a:buSzPct val="100000"/>
              <a:buFontTx/>
              <a:buChar char="•"/>
              <a:defRPr sz="1000"/>
            </a:pPr>
            <a:r>
              <a:rPr lang="ru-RU" sz="1200" dirty="0">
                <a:solidFill>
                  <a:srgbClr val="FF0000"/>
                </a:solidFill>
                <a:latin typeface="Arial"/>
              </a:rPr>
              <a:t>Металлографическое исследование микроструктуры различных зон сварного соединения</a:t>
            </a:r>
          </a:p>
          <a:p>
            <a:pPr marL="179388" lvl="0" indent="-179388" defTabSz="633047">
              <a:spcBef>
                <a:spcPts val="600"/>
              </a:spcBef>
              <a:buClr>
                <a:srgbClr val="C00000"/>
              </a:buClr>
              <a:buSzPct val="100000"/>
              <a:buFontTx/>
              <a:buChar char="•"/>
              <a:defRPr sz="1000"/>
            </a:pPr>
            <a:endParaRPr lang="ru-RU" sz="1200" dirty="0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1333128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5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5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5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1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5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5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1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0" grpId="0" animBg="1"/>
      <p:bldP spid="161" grpId="0" animBg="1"/>
      <p:bldP spid="162" grpId="0" animBg="1"/>
      <p:bldP spid="16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" name="Объект 10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0119830"/>
              </p:ext>
            </p:extLst>
          </p:nvPr>
        </p:nvGraphicFramePr>
        <p:xfrm>
          <a:off x="2201688" y="508604"/>
          <a:ext cx="1352" cy="13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18" name="Слайд think-cell" r:id="rId6" imgW="592" imgH="595" progId="TCLayout.ActiveDocument.1">
                  <p:embed/>
                </p:oleObj>
              </mc:Choice>
              <mc:Fallback>
                <p:oleObj name="Слайд think-cell" r:id="rId6" imgW="592" imgH="595" progId="TCLayout.ActiveDocument.1">
                  <p:embed/>
                  <p:pic>
                    <p:nvPicPr>
                      <p:cNvPr id="109" name="Объект 10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201688" y="508604"/>
                        <a:ext cx="1352" cy="13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>
          <a:xfrm>
            <a:off x="1875693" y="263769"/>
            <a:ext cx="146538" cy="146538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26498">
              <a:spcAft>
                <a:spcPts val="554"/>
              </a:spcAft>
              <a:buClr>
                <a:srgbClr val="DD1E25"/>
              </a:buClr>
              <a:defRPr/>
            </a:pPr>
            <a:endParaRPr lang="ru-RU" sz="1704" b="1" dirty="0" err="1">
              <a:solidFill>
                <a:srgbClr val="FFFFFF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07988" y="3589856"/>
            <a:ext cx="10379284" cy="52322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sz="4000" dirty="0" smtClean="0"/>
              <a:t>Спасибо за внимание!</a:t>
            </a:r>
            <a:endParaRPr lang="ru-RU" sz="4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5519936" y="6618351"/>
            <a:ext cx="648072" cy="230864"/>
          </a:xfrm>
        </p:spPr>
        <p:txBody>
          <a:bodyPr/>
          <a:lstStyle/>
          <a:p>
            <a:fld id="{3B9CAC58-44C9-4DC0-A6AF-0B4057C34224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07988" y="4941168"/>
            <a:ext cx="601204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accent2"/>
                </a:solidFill>
              </a:rPr>
              <a:t>Виноградова Алена Михайловна</a:t>
            </a:r>
          </a:p>
          <a:p>
            <a:r>
              <a:rPr lang="ru-RU" sz="1600" dirty="0" smtClean="0">
                <a:solidFill>
                  <a:schemeClr val="accent2"/>
                </a:solidFill>
              </a:rPr>
              <a:t>Менеджер (по техническому регулированию)</a:t>
            </a:r>
          </a:p>
          <a:p>
            <a:r>
              <a:rPr lang="ru-RU" sz="1600" dirty="0" smtClean="0">
                <a:solidFill>
                  <a:schemeClr val="accent2"/>
                </a:solidFill>
              </a:rPr>
              <a:t>Управление новых продуктов и технологий, ДТРК</a:t>
            </a:r>
            <a:endParaRPr lang="en-US" sz="1600" dirty="0" smtClean="0">
              <a:solidFill>
                <a:schemeClr val="accent2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1600" dirty="0">
                <a:solidFill>
                  <a:schemeClr val="accent2"/>
                </a:solidFill>
              </a:rPr>
              <a:t>Email: </a:t>
            </a:r>
            <a:r>
              <a:rPr lang="en-US" sz="1600" dirty="0" smtClean="0">
                <a:solidFill>
                  <a:schemeClr val="accent2"/>
                </a:solidFill>
              </a:rPr>
              <a:t>amkateshina@severstal.com</a:t>
            </a:r>
            <a:endParaRPr lang="ru-RU" sz="1600" dirty="0">
              <a:solidFill>
                <a:schemeClr val="accent2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600" dirty="0" smtClean="0">
                <a:solidFill>
                  <a:schemeClr val="accent2"/>
                </a:solidFill>
              </a:rPr>
              <a:t>Тел: 8-921-258-71-82</a:t>
            </a:r>
            <a:endParaRPr lang="ru-RU" sz="16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218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215997"/>
            <a:ext cx="10379284" cy="664216"/>
          </a:xfrm>
        </p:spPr>
        <p:txBody>
          <a:bodyPr/>
          <a:lstStyle/>
          <a:p>
            <a:r>
              <a:rPr lang="ru-RU" sz="2400" dirty="0" smtClean="0">
                <a:latin typeface="+mn-lt"/>
              </a:rPr>
              <a:t>Приложение.</a:t>
            </a:r>
            <a:br>
              <a:rPr lang="ru-RU" sz="2400" dirty="0" smtClean="0">
                <a:latin typeface="+mn-lt"/>
              </a:rPr>
            </a:br>
            <a:r>
              <a:rPr lang="ru-RU" sz="2400" dirty="0" smtClean="0">
                <a:latin typeface="+mn-lt"/>
              </a:rPr>
              <a:t>Утверждение Программы испытаний Минстрой России</a:t>
            </a:r>
            <a:endParaRPr lang="ru-RU" sz="2400" dirty="0">
              <a:latin typeface="+mn-lt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8900" y="1143000"/>
            <a:ext cx="69342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6956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78" y="163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66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78" y="163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91" y="51"/>
            <a:ext cx="158747" cy="15874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204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407988" y="215997"/>
            <a:ext cx="10379284" cy="664216"/>
          </a:xfrm>
        </p:spPr>
        <p:txBody>
          <a:bodyPr/>
          <a:lstStyle/>
          <a:p>
            <a:r>
              <a:rPr lang="ru-RU" sz="2400" dirty="0" smtClean="0">
                <a:latin typeface="+mn-lt"/>
              </a:rPr>
              <a:t>Приложение. </a:t>
            </a:r>
            <a:br>
              <a:rPr lang="ru-RU" sz="2400" dirty="0" smtClean="0">
                <a:latin typeface="+mn-lt"/>
              </a:rPr>
            </a:br>
            <a:r>
              <a:rPr lang="ru-RU" sz="2400" dirty="0" smtClean="0">
                <a:latin typeface="+mn-lt"/>
              </a:rPr>
              <a:t>Документы, требующие актуализации ссылочных ГОСТ</a:t>
            </a:r>
            <a:endParaRPr lang="ru-RU" sz="2400" dirty="0">
              <a:latin typeface="+mn-lt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95437" y="1004887"/>
            <a:ext cx="9001125" cy="484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76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3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MBv_glKvvMoysWem16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zBPsUUXFQJBMC6X71Z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BFA3ZPCMjBVMmZF2aT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heme/theme1.xml><?xml version="1.0" encoding="utf-8"?>
<a:theme xmlns:a="http://schemas.openxmlformats.org/drawingml/2006/main" name="Severstal_new">
  <a:themeElements>
    <a:clrScheme name="Другая 2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002F6C"/>
      </a:accent2>
      <a:accent3>
        <a:srgbClr val="909090"/>
      </a:accent3>
      <a:accent4>
        <a:srgbClr val="00635B"/>
      </a:accent4>
      <a:accent5>
        <a:srgbClr val="523178"/>
      </a:accent5>
      <a:accent6>
        <a:srgbClr val="6F263D"/>
      </a:accent6>
      <a:hlink>
        <a:srgbClr val="002351"/>
      </a:hlink>
      <a:folHlink>
        <a:srgbClr val="002351"/>
      </a:folHlink>
    </a:clrScheme>
    <a:fontScheme name="Северстал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5400000" scaled="1"/>
        </a:gradFill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noAutofit/>
      </a:bodyPr>
      <a:lstStyle>
        <a:defPPr marL="0" indent="0" algn="ctr" defTabSz="895350">
          <a:spcAft>
            <a:spcPts val="600"/>
          </a:spcAft>
          <a:buClr>
            <a:schemeClr val="accent1"/>
          </a:buClr>
          <a:buFont typeface="Wingdings" panose="05000000000000000000" pitchFamily="2" charset="2"/>
          <a:buNone/>
          <a:defRPr sz="1200" dirty="0" err="1" smtClean="0">
            <a:solidFill>
              <a:schemeClr val="bg1"/>
            </a:solidFill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everstal_new">
  <a:themeElements>
    <a:clrScheme name="Другая 8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002F6C"/>
      </a:accent2>
      <a:accent3>
        <a:srgbClr val="909090"/>
      </a:accent3>
      <a:accent4>
        <a:srgbClr val="00635B"/>
      </a:accent4>
      <a:accent5>
        <a:srgbClr val="523178"/>
      </a:accent5>
      <a:accent6>
        <a:srgbClr val="6F263D"/>
      </a:accent6>
      <a:hlink>
        <a:srgbClr val="D5D4C7"/>
      </a:hlink>
      <a:folHlink>
        <a:srgbClr val="D5D4C7"/>
      </a:folHlink>
    </a:clrScheme>
    <a:fontScheme name="Северстал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5400000" scaled="1"/>
        </a:gradFill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noAutofit/>
      </a:bodyPr>
      <a:lstStyle>
        <a:defPPr marL="0" indent="0" algn="ctr" defTabSz="895350">
          <a:spcAft>
            <a:spcPts val="600"/>
          </a:spcAft>
          <a:buClr>
            <a:schemeClr val="accent1"/>
          </a:buClr>
          <a:buFont typeface="Wingdings" panose="05000000000000000000" pitchFamily="2" charset="2"/>
          <a:buNone/>
          <a:defRPr sz="1200" dirty="0" err="1" smtClean="0">
            <a:solidFill>
              <a:schemeClr val="bg1"/>
            </a:solidFill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Firm Format - template_Blue">
  <a:themeElements>
    <a:clrScheme name="Custom 3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27F00"/>
      </a:accent5>
      <a:accent6>
        <a:srgbClr val="808080"/>
      </a:accent6>
      <a:hlink>
        <a:srgbClr val="DD1E25"/>
      </a:hlink>
      <a:folHlink>
        <a:srgbClr val="99A4AB"/>
      </a:folHlink>
    </a:clrScheme>
    <a:fontScheme name="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everstal 16_9.potx" id="{2F559F87-009A-4648-8989-9E1897EBA9C7}" vid="{B7950F53-0BD8-4E27-84C1-FB60FF652E8F}"/>
    </a:ext>
  </a:extLst>
</a:theme>
</file>

<file path=ppt/theme/theme4.xml><?xml version="1.0" encoding="utf-8"?>
<a:theme xmlns:a="http://schemas.openxmlformats.org/drawingml/2006/main" name="3_Firm Format - template_Blue">
  <a:themeElements>
    <a:clrScheme name="Custom 3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27F00"/>
      </a:accent5>
      <a:accent6>
        <a:srgbClr val="808080"/>
      </a:accent6>
      <a:hlink>
        <a:srgbClr val="DD1E25"/>
      </a:hlink>
      <a:folHlink>
        <a:srgbClr val="99A4AB"/>
      </a:folHlink>
    </a:clrScheme>
    <a:fontScheme name="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everstal 16_9.potx" id="{2F559F87-009A-4648-8989-9E1897EBA9C7}" vid="{B7950F53-0BD8-4E27-84C1-FB60FF652E8F}"/>
    </a:ext>
  </a:extLst>
</a:theme>
</file>

<file path=ppt/theme/theme5.xml><?xml version="1.0" encoding="utf-8"?>
<a:theme xmlns:a="http://schemas.openxmlformats.org/drawingml/2006/main" name="2_Severstal_new">
  <a:themeElements>
    <a:clrScheme name="Severstal_new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FF0000"/>
      </a:accent1>
      <a:accent2>
        <a:srgbClr val="002F6C"/>
      </a:accent2>
      <a:accent3>
        <a:srgbClr val="909090"/>
      </a:accent3>
      <a:accent4>
        <a:srgbClr val="00635B"/>
      </a:accent4>
      <a:accent5>
        <a:srgbClr val="523178"/>
      </a:accent5>
      <a:accent6>
        <a:srgbClr val="6F263D"/>
      </a:accent6>
      <a:hlink>
        <a:srgbClr val="0000FF"/>
      </a:hlink>
      <a:folHlink>
        <a:srgbClr val="FF00FF"/>
      </a:folHlink>
    </a:clrScheme>
    <a:fontScheme name="Severstal_new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Severstal_new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t">
        <a:spAutoFit/>
      </a:bodyPr>
      <a:lstStyle>
        <a:defPPr marL="0" marR="0" indent="0" algn="l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6.xml><?xml version="1.0" encoding="utf-8"?>
<a:theme xmlns:a="http://schemas.openxmlformats.org/drawingml/2006/main" name="4_Severstal_new">
  <a:themeElements>
    <a:clrScheme name="Другая 8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002F6C"/>
      </a:accent2>
      <a:accent3>
        <a:srgbClr val="909090"/>
      </a:accent3>
      <a:accent4>
        <a:srgbClr val="00635B"/>
      </a:accent4>
      <a:accent5>
        <a:srgbClr val="523178"/>
      </a:accent5>
      <a:accent6>
        <a:srgbClr val="6F263D"/>
      </a:accent6>
      <a:hlink>
        <a:srgbClr val="D5D4C7"/>
      </a:hlink>
      <a:folHlink>
        <a:srgbClr val="D5D4C7"/>
      </a:folHlink>
    </a:clrScheme>
    <a:fontScheme name="Северстал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5400000" scaled="1"/>
        </a:gradFill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noAutofit/>
      </a:bodyPr>
      <a:lstStyle>
        <a:defPPr marL="0" indent="0" algn="ctr" defTabSz="895350">
          <a:spcAft>
            <a:spcPts val="600"/>
          </a:spcAft>
          <a:buClr>
            <a:schemeClr val="accent1"/>
          </a:buClr>
          <a:buFont typeface="Wingdings" panose="05000000000000000000" pitchFamily="2" charset="2"/>
          <a:buNone/>
          <a:defRPr sz="1200" dirty="0" err="1" smtClean="0">
            <a:solidFill>
              <a:schemeClr val="bg1"/>
            </a:solidFill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0441__x043e__x0440__x0442__x0438__x0440__x043e__x0432__x043a__x0430_ xmlns="4bad4e80-64da-46ca-9c26-983dd3f4de93" xsi:nil="true"/>
    <SharedWithUsers xmlns="f311cce2-66c9-4cf1-b39a-428d5f170633">
      <UserInfo>
        <DisplayName>Федотов Евгений Сергеевич</DisplayName>
        <AccountId>5518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70ED2FF0C0B79A4997E31B771AEC3E6E" ma:contentTypeVersion="2" ma:contentTypeDescription="Создание документа." ma:contentTypeScope="" ma:versionID="ce9f216b9b30818e1d941e879215f1d0">
  <xsd:schema xmlns:xsd="http://www.w3.org/2001/XMLSchema" xmlns:xs="http://www.w3.org/2001/XMLSchema" xmlns:p="http://schemas.microsoft.com/office/2006/metadata/properties" xmlns:ns2="f311cce2-66c9-4cf1-b39a-428d5f170633" xmlns:ns3="4bad4e80-64da-46ca-9c26-983dd3f4de93" targetNamespace="http://schemas.microsoft.com/office/2006/metadata/properties" ma:root="true" ma:fieldsID="af86fcb4152ae32c586e80b18b004f94" ns2:_="" ns3:_="">
    <xsd:import namespace="f311cce2-66c9-4cf1-b39a-428d5f170633"/>
    <xsd:import namespace="4bad4e80-64da-46ca-9c26-983dd3f4de93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3:_x0441__x043e__x0440__x0442__x0438__x0440__x043e__x0432__x043a__x0430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11cce2-66c9-4cf1-b39a-428d5f17063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ad4e80-64da-46ca-9c26-983dd3f4de93" elementFormDefault="qualified">
    <xsd:import namespace="http://schemas.microsoft.com/office/2006/documentManagement/types"/>
    <xsd:import namespace="http://schemas.microsoft.com/office/infopath/2007/PartnerControls"/>
    <xsd:element name="_x0441__x043e__x0440__x0442__x0438__x0440__x043e__x0432__x043a__x0430_" ma:index="9" nillable="true" ma:displayName="сортировка" ma:internalName="_x0441__x043e__x0440__x0442__x0438__x0440__x043e__x0432__x043a__x0430_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Application xmlns="http://www.sap.com/cof/powerpoint/application">
  <Version>2</Version>
  <Revision>2.7.300.86673</Revision>
</Application>
</file>

<file path=customXml/itemProps1.xml><?xml version="1.0" encoding="utf-8"?>
<ds:datastoreItem xmlns:ds="http://schemas.openxmlformats.org/officeDocument/2006/customXml" ds:itemID="{FF173695-8951-407C-A603-6AA2BFFBE60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EC59F69-D2F5-4497-9AE7-538B85C25F15}">
  <ds:schemaRefs>
    <ds:schemaRef ds:uri="http://schemas.microsoft.com/office/2006/metadata/properties"/>
    <ds:schemaRef ds:uri="4bad4e80-64da-46ca-9c26-983dd3f4de93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f311cce2-66c9-4cf1-b39a-428d5f170633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31534322-25C3-4FC8-AE4E-3999ACADE46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311cce2-66c9-4cf1-b39a-428d5f170633"/>
    <ds:schemaRef ds:uri="4bad4e80-64da-46ca-9c26-983dd3f4de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D79D8643-2227-454E-99A2-0DC0BDB71950}">
  <ds:schemaRefs>
    <ds:schemaRef ds:uri="http://www.sap.com/cof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9078</TotalTime>
  <Words>935</Words>
  <Application>Microsoft Office PowerPoint</Application>
  <PresentationFormat>Широкоэкранный</PresentationFormat>
  <Paragraphs>90</Paragraphs>
  <Slides>7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23" baseType="lpstr">
      <vt:lpstr>Arial</vt:lpstr>
      <vt:lpstr>Calibri</vt:lpstr>
      <vt:lpstr>Courier New</vt:lpstr>
      <vt:lpstr>FS Severstal</vt:lpstr>
      <vt:lpstr>Helvetica</vt:lpstr>
      <vt:lpstr>Segoe UI</vt:lpstr>
      <vt:lpstr>Times New Roman</vt:lpstr>
      <vt:lpstr>Verdana</vt:lpstr>
      <vt:lpstr>Wingdings</vt:lpstr>
      <vt:lpstr>Severstal_new</vt:lpstr>
      <vt:lpstr>1_Severstal_new</vt:lpstr>
      <vt:lpstr>2_Firm Format - template_Blue</vt:lpstr>
      <vt:lpstr>3_Firm Format - template_Blue</vt:lpstr>
      <vt:lpstr>2_Severstal_new</vt:lpstr>
      <vt:lpstr>4_Severstal_new</vt:lpstr>
      <vt:lpstr>Слайд think-cell</vt:lpstr>
      <vt:lpstr>Презентация PowerPoint</vt:lpstr>
      <vt:lpstr>Эффект от внедрения нового ГОСТ 6713-2021</vt:lpstr>
      <vt:lpstr>Внедрение в практику мостостроения новых состояний поставки металлопроката по ГОСТ 6713-2021</vt:lpstr>
      <vt:lpstr>Реализация Программы комплексных испытаний  </vt:lpstr>
      <vt:lpstr>Спасибо за внимание!</vt:lpstr>
      <vt:lpstr>Приложение. Утверждение Программы испытаний Минстрой России</vt:lpstr>
      <vt:lpstr>Приложение.  Документы, требующие актуализации ссылочных ГОСТ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ffice</dc:creator>
  <cp:lastModifiedBy>Виноградова Алена Михайловна</cp:lastModifiedBy>
  <cp:revision>1190</cp:revision>
  <dcterms:created xsi:type="dcterms:W3CDTF">2018-07-05T12:56:36Z</dcterms:created>
  <dcterms:modified xsi:type="dcterms:W3CDTF">2022-11-30T13:14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ED2FF0C0B79A4997E31B771AEC3E6E</vt:lpwstr>
  </property>
  <property fmtid="{D5CDD505-2E9C-101B-9397-08002B2CF9AE}" pid="3" name="Order">
    <vt:r8>19500</vt:r8>
  </property>
  <property fmtid="{D5CDD505-2E9C-101B-9397-08002B2CF9AE}" pid="4" name="TemplateUrl">
    <vt:lpwstr/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DocumentSetDescription">
    <vt:lpwstr/>
  </property>
</Properties>
</file>